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68" r:id="rId5"/>
    <p:sldMasterId id="2147483790" r:id="rId6"/>
    <p:sldMasterId id="2147483810" r:id="rId7"/>
    <p:sldMasterId id="2147483830" r:id="rId8"/>
    <p:sldMasterId id="2147483850" r:id="rId9"/>
    <p:sldMasterId id="2147483870" r:id="rId10"/>
  </p:sldMasterIdLst>
  <p:notesMasterIdLst>
    <p:notesMasterId r:id="rId51"/>
  </p:notesMasterIdLst>
  <p:sldIdLst>
    <p:sldId id="256" r:id="rId11"/>
    <p:sldId id="1324" r:id="rId12"/>
    <p:sldId id="258" r:id="rId13"/>
    <p:sldId id="1371" r:id="rId14"/>
    <p:sldId id="1331" r:id="rId15"/>
    <p:sldId id="1341" r:id="rId16"/>
    <p:sldId id="1315" r:id="rId17"/>
    <p:sldId id="1372" r:id="rId18"/>
    <p:sldId id="1300" r:id="rId19"/>
    <p:sldId id="1342" r:id="rId20"/>
    <p:sldId id="1367" r:id="rId21"/>
    <p:sldId id="1343" r:id="rId22"/>
    <p:sldId id="1344" r:id="rId23"/>
    <p:sldId id="1259" r:id="rId24"/>
    <p:sldId id="1363" r:id="rId25"/>
    <p:sldId id="1345" r:id="rId26"/>
    <p:sldId id="1260" r:id="rId27"/>
    <p:sldId id="1375" r:id="rId28"/>
    <p:sldId id="1393" r:id="rId29"/>
    <p:sldId id="1346" r:id="rId30"/>
    <p:sldId id="1370" r:id="rId31"/>
    <p:sldId id="1316" r:id="rId32"/>
    <p:sldId id="1347" r:id="rId33"/>
    <p:sldId id="1348" r:id="rId34"/>
    <p:sldId id="1402" r:id="rId35"/>
    <p:sldId id="1350" r:id="rId36"/>
    <p:sldId id="1349" r:id="rId37"/>
    <p:sldId id="1261" r:id="rId38"/>
    <p:sldId id="1351" r:id="rId39"/>
    <p:sldId id="1302" r:id="rId40"/>
    <p:sldId id="1262" r:id="rId41"/>
    <p:sldId id="1263" r:id="rId42"/>
    <p:sldId id="1310" r:id="rId43"/>
    <p:sldId id="1374" r:id="rId44"/>
    <p:sldId id="1303" r:id="rId45"/>
    <p:sldId id="1323" r:id="rId46"/>
    <p:sldId id="1401" r:id="rId47"/>
    <p:sldId id="1340" r:id="rId48"/>
    <p:sldId id="1369" r:id="rId49"/>
    <p:sldId id="1400" r:id="rId50"/>
  </p:sldIdLst>
  <p:sldSz cx="9144000" cy="6858000" type="screen4x3"/>
  <p:notesSz cx="6858000" cy="9144000"/>
  <p:embeddedFontLst>
    <p:embeddedFont>
      <p:font typeface="Credit Suisse Headline" panose="020B0504030101020102" pitchFamily="34" charset="0"/>
      <p:regular r:id="rId52"/>
      <p:bold r:id="rId53"/>
    </p:embeddedFont>
    <p:embeddedFont>
      <p:font typeface="Credit Suisse Type Light" panose="020B0303040503020204" pitchFamily="34" charset="0"/>
      <p:regular r:id="rId54"/>
      <p:bold r:id="rId55"/>
      <p:italic r:id="rId56"/>
    </p:embeddedFont>
    <p:embeddedFont>
      <p:font typeface="Credit Suisse Type Roman" panose="020B0503040503020204" pitchFamily="34" charset="0"/>
      <p:regular r:id="rId57"/>
      <p:bold r:id="rId5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structions to our new PPT" id="{8196B382-D0B5-4C61-BE33-234C0CB32CEF}">
          <p14:sldIdLst>
            <p14:sldId id="256"/>
            <p14:sldId id="1324"/>
            <p14:sldId id="258"/>
            <p14:sldId id="1371"/>
            <p14:sldId id="1331"/>
            <p14:sldId id="1341"/>
            <p14:sldId id="1315"/>
            <p14:sldId id="1372"/>
            <p14:sldId id="1300"/>
            <p14:sldId id="1342"/>
            <p14:sldId id="1367"/>
            <p14:sldId id="1343"/>
            <p14:sldId id="1344"/>
            <p14:sldId id="1259"/>
            <p14:sldId id="1363"/>
            <p14:sldId id="1345"/>
            <p14:sldId id="1260"/>
            <p14:sldId id="1375"/>
            <p14:sldId id="1393"/>
            <p14:sldId id="1346"/>
            <p14:sldId id="1370"/>
            <p14:sldId id="1316"/>
            <p14:sldId id="1347"/>
            <p14:sldId id="1348"/>
            <p14:sldId id="1402"/>
            <p14:sldId id="1350"/>
            <p14:sldId id="1349"/>
            <p14:sldId id="1261"/>
            <p14:sldId id="1351"/>
            <p14:sldId id="1302"/>
            <p14:sldId id="1262"/>
            <p14:sldId id="1263"/>
            <p14:sldId id="1310"/>
            <p14:sldId id="1374"/>
            <p14:sldId id="1303"/>
            <p14:sldId id="1323"/>
            <p14:sldId id="1401"/>
            <p14:sldId id="1340"/>
            <p14:sldId id="1369"/>
            <p14:sldId id="1400"/>
          </p14:sldIdLst>
        </p14:section>
      </p14:sectionLst>
    </p:ext>
    <p:ext uri="{EFAFB233-063F-42B5-8137-9DF3F51BA10A}">
      <p15:sldGuideLst xmlns:p15="http://schemas.microsoft.com/office/powerpoint/2012/main">
        <p15:guide id="2" pos="2948">
          <p15:clr>
            <a:srgbClr val="A4A3A4"/>
          </p15:clr>
        </p15:guide>
        <p15:guide id="3" orient="horz" pos="3838">
          <p15:clr>
            <a:srgbClr val="A4A3A4"/>
          </p15:clr>
        </p15:guide>
        <p15:guide id="4" pos="2812">
          <p15:clr>
            <a:srgbClr val="A4A3A4"/>
          </p15:clr>
        </p15:guide>
        <p15:guide id="6" pos="5624">
          <p15:clr>
            <a:srgbClr val="A4A3A4"/>
          </p15:clr>
        </p15:guide>
        <p15:guide id="7" pos="2880" userDrawn="1">
          <p15:clr>
            <a:srgbClr val="A4A3A4"/>
          </p15:clr>
        </p15:guide>
        <p15:guide id="8" orient="horz" pos="618" userDrawn="1">
          <p15:clr>
            <a:srgbClr val="A4A3A4"/>
          </p15:clr>
        </p15:guide>
        <p15:guide id="10" orient="horz" pos="33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AEAEA"/>
    <a:srgbClr val="D7D7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3FFBA4-D556-4158-9983-09A01B4E1D48}" v="6296" dt="2025-06-18T18:14:48.4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54" autoAdjust="0"/>
    <p:restoredTop sz="94130" autoAdjust="0"/>
  </p:normalViewPr>
  <p:slideViewPr>
    <p:cSldViewPr snapToGrid="0" showGuides="1">
      <p:cViewPr varScale="1">
        <p:scale>
          <a:sx n="65" d="100"/>
          <a:sy n="65" d="100"/>
        </p:scale>
        <p:origin x="1160" y="56"/>
      </p:cViewPr>
      <p:guideLst>
        <p:guide pos="2948"/>
        <p:guide orient="horz" pos="3838"/>
        <p:guide pos="2812"/>
        <p:guide pos="5624"/>
        <p:guide pos="2880"/>
        <p:guide orient="horz" pos="618"/>
        <p:guide orient="horz" pos="338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596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slide" Target="slides/slide40.xml"/><Relationship Id="rId55" Type="http://schemas.openxmlformats.org/officeDocument/2006/relationships/font" Target="fonts/font4.fntdata"/><Relationship Id="rId63" Type="http://schemas.microsoft.com/office/2016/11/relationships/changesInfo" Target="changesInfos/changesInfo1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font" Target="fonts/font2.fntdata"/><Relationship Id="rId58" Type="http://schemas.openxmlformats.org/officeDocument/2006/relationships/font" Target="fonts/font7.fntdata"/><Relationship Id="rId5" Type="http://schemas.openxmlformats.org/officeDocument/2006/relationships/slideMaster" Target="slideMasters/slideMaster1.xml"/><Relationship Id="rId61" Type="http://schemas.openxmlformats.org/officeDocument/2006/relationships/theme" Target="theme/theme1.xml"/><Relationship Id="rId19" Type="http://schemas.openxmlformats.org/officeDocument/2006/relationships/slide" Target="slides/slide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font" Target="fonts/font5.fntdata"/><Relationship Id="rId64" Type="http://schemas.microsoft.com/office/2015/10/relationships/revisionInfo" Target="revisionInfo.xml"/><Relationship Id="rId8" Type="http://schemas.openxmlformats.org/officeDocument/2006/relationships/slideMaster" Target="slideMasters/slideMaster4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openxmlformats.org/officeDocument/2006/relationships/presProps" Target="presProps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54" Type="http://schemas.openxmlformats.org/officeDocument/2006/relationships/font" Target="fonts/font3.fntdata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openxmlformats.org/officeDocument/2006/relationships/font" Target="fonts/font6.fntdata"/><Relationship Id="rId10" Type="http://schemas.openxmlformats.org/officeDocument/2006/relationships/slideMaster" Target="slideMasters/slideMaster6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font" Target="fonts/font1.fntdata"/><Relationship Id="rId6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ässler, Oliver (JPKA 2)" userId="9a89f36f-748e-4f00-b20c-72cbec80bd4a" providerId="ADAL" clId="{F03FFBA4-D556-4158-9983-09A01B4E1D48}"/>
    <pc:docChg chg="undo redo custSel delSld modSld modSection">
      <pc:chgData name="Fässler, Oliver (JPKA 2)" userId="9a89f36f-748e-4f00-b20c-72cbec80bd4a" providerId="ADAL" clId="{F03FFBA4-D556-4158-9983-09A01B4E1D48}" dt="2025-06-18T18:15:01.978" v="1754" actId="20577"/>
      <pc:docMkLst>
        <pc:docMk/>
      </pc:docMkLst>
      <pc:sldChg chg="modSp mod">
        <pc:chgData name="Fässler, Oliver (JPKA 2)" userId="9a89f36f-748e-4f00-b20c-72cbec80bd4a" providerId="ADAL" clId="{F03FFBA4-D556-4158-9983-09A01B4E1D48}" dt="2025-06-18T18:15:01.978" v="1754" actId="20577"/>
        <pc:sldMkLst>
          <pc:docMk/>
          <pc:sldMk cId="1889315251" sldId="256"/>
        </pc:sldMkLst>
        <pc:spChg chg="mod">
          <ac:chgData name="Fässler, Oliver (JPKA 2)" userId="9a89f36f-748e-4f00-b20c-72cbec80bd4a" providerId="ADAL" clId="{F03FFBA4-D556-4158-9983-09A01B4E1D48}" dt="2025-06-18T18:15:01.978" v="1754" actId="20577"/>
          <ac:spMkLst>
            <pc:docMk/>
            <pc:sldMk cId="1889315251" sldId="256"/>
            <ac:spMk id="4" creationId="{E8171A31-F64B-4FDA-B75D-D7E690871B45}"/>
          </ac:spMkLst>
        </pc:spChg>
      </pc:sldChg>
      <pc:sldChg chg="modSp del mod">
        <pc:chgData name="Fässler, Oliver (JPKA 2)" userId="9a89f36f-748e-4f00-b20c-72cbec80bd4a" providerId="ADAL" clId="{F03FFBA4-D556-4158-9983-09A01B4E1D48}" dt="2025-04-11T11:23:45.202" v="1400" actId="47"/>
        <pc:sldMkLst>
          <pc:docMk/>
          <pc:sldMk cId="2190879596" sldId="1255"/>
        </pc:sldMkLst>
      </pc:sldChg>
      <pc:sldChg chg="modSp">
        <pc:chgData name="Fässler, Oliver (JPKA 2)" userId="9a89f36f-748e-4f00-b20c-72cbec80bd4a" providerId="ADAL" clId="{F03FFBA4-D556-4158-9983-09A01B4E1D48}" dt="2025-06-18T18:12:45.688" v="1692"/>
        <pc:sldMkLst>
          <pc:docMk/>
          <pc:sldMk cId="2114517570" sldId="1259"/>
        </pc:sldMkLst>
        <pc:graphicFrameChg chg="mod">
          <ac:chgData name="Fässler, Oliver (JPKA 2)" userId="9a89f36f-748e-4f00-b20c-72cbec80bd4a" providerId="ADAL" clId="{F03FFBA4-D556-4158-9983-09A01B4E1D48}" dt="2025-06-18T18:12:44.201" v="1691"/>
          <ac:graphicFrameMkLst>
            <pc:docMk/>
            <pc:sldMk cId="2114517570" sldId="1259"/>
            <ac:graphicFrameMk id="8" creationId="{57915B76-9BC8-4712-8215-87EB94920843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45.688" v="1692"/>
          <ac:graphicFrameMkLst>
            <pc:docMk/>
            <pc:sldMk cId="2114517570" sldId="1259"/>
            <ac:graphicFrameMk id="12" creationId="{693048C0-3014-4A4E-97C2-E4D970173019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2:54.752" v="1698"/>
        <pc:sldMkLst>
          <pc:docMk/>
          <pc:sldMk cId="2106257885" sldId="1260"/>
        </pc:sldMkLst>
        <pc:graphicFrameChg chg="mod">
          <ac:chgData name="Fässler, Oliver (JPKA 2)" userId="9a89f36f-748e-4f00-b20c-72cbec80bd4a" providerId="ADAL" clId="{F03FFBA4-D556-4158-9983-09A01B4E1D48}" dt="2025-06-18T18:12:53.140" v="1697"/>
          <ac:graphicFrameMkLst>
            <pc:docMk/>
            <pc:sldMk cId="2106257885" sldId="1260"/>
            <ac:graphicFrameMk id="12" creationId="{05A3B538-7D79-4EC6-B88F-16C86A293222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54.752" v="1698"/>
          <ac:graphicFrameMkLst>
            <pc:docMk/>
            <pc:sldMk cId="2106257885" sldId="1260"/>
            <ac:graphicFrameMk id="13" creationId="{15256E89-CDAF-4E00-8026-8F83811DBFC1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20.155" v="1719"/>
        <pc:sldMkLst>
          <pc:docMk/>
          <pc:sldMk cId="958020560" sldId="1261"/>
        </pc:sldMkLst>
        <pc:graphicFrameChg chg="mod">
          <ac:chgData name="Fässler, Oliver (JPKA 2)" userId="9a89f36f-748e-4f00-b20c-72cbec80bd4a" providerId="ADAL" clId="{F03FFBA4-D556-4158-9983-09A01B4E1D48}" dt="2025-06-18T18:14:19.460" v="1718"/>
          <ac:graphicFrameMkLst>
            <pc:docMk/>
            <pc:sldMk cId="958020560" sldId="1261"/>
            <ac:graphicFrameMk id="6" creationId="{D70A38C1-CB22-2578-8B58-8EE88F3BE7C6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20.155" v="1719"/>
          <ac:graphicFrameMkLst>
            <pc:docMk/>
            <pc:sldMk cId="958020560" sldId="1261"/>
            <ac:graphicFrameMk id="8" creationId="{11DF14B2-9C63-4B3C-6590-C3E9B8D9B7F6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26.485" v="1724"/>
        <pc:sldMkLst>
          <pc:docMk/>
          <pc:sldMk cId="3111006758" sldId="1262"/>
        </pc:sldMkLst>
        <pc:graphicFrameChg chg="mod">
          <ac:chgData name="Fässler, Oliver (JPKA 2)" userId="9a89f36f-748e-4f00-b20c-72cbec80bd4a" providerId="ADAL" clId="{F03FFBA4-D556-4158-9983-09A01B4E1D48}" dt="2025-06-18T18:14:26.485" v="1724"/>
          <ac:graphicFrameMkLst>
            <pc:docMk/>
            <pc:sldMk cId="3111006758" sldId="1262"/>
            <ac:graphicFrameMk id="7" creationId="{DD090BDF-9343-4E3C-AA25-28A0093D9E2F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28.872" v="1725"/>
        <pc:sldMkLst>
          <pc:docMk/>
          <pc:sldMk cId="927570063" sldId="1263"/>
        </pc:sldMkLst>
        <pc:graphicFrameChg chg="mod">
          <ac:chgData name="Fässler, Oliver (JPKA 2)" userId="9a89f36f-748e-4f00-b20c-72cbec80bd4a" providerId="ADAL" clId="{F03FFBA4-D556-4158-9983-09A01B4E1D48}" dt="2025-06-18T18:14:28.872" v="1725"/>
          <ac:graphicFrameMkLst>
            <pc:docMk/>
            <pc:sldMk cId="927570063" sldId="1263"/>
            <ac:graphicFrameMk id="6" creationId="{848BD7BD-FD62-4DE1-A32D-D350D5C845CE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2:31.965" v="1681"/>
        <pc:sldMkLst>
          <pc:docMk/>
          <pc:sldMk cId="1999276338" sldId="1300"/>
        </pc:sldMkLst>
        <pc:graphicFrameChg chg="mod">
          <ac:chgData name="Fässler, Oliver (JPKA 2)" userId="9a89f36f-748e-4f00-b20c-72cbec80bd4a" providerId="ADAL" clId="{F03FFBA4-D556-4158-9983-09A01B4E1D48}" dt="2025-06-18T18:12:31.965" v="1681"/>
          <ac:graphicFrameMkLst>
            <pc:docMk/>
            <pc:sldMk cId="1999276338" sldId="1300"/>
            <ac:graphicFrameMk id="6" creationId="{E5ECF30E-D593-40D0-AADB-F0DD319B01EB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22.635" v="1723"/>
        <pc:sldMkLst>
          <pc:docMk/>
          <pc:sldMk cId="4096159573" sldId="1302"/>
        </pc:sldMkLst>
        <pc:graphicFrameChg chg="mod">
          <ac:chgData name="Fässler, Oliver (JPKA 2)" userId="9a89f36f-748e-4f00-b20c-72cbec80bd4a" providerId="ADAL" clId="{F03FFBA4-D556-4158-9983-09A01B4E1D48}" dt="2025-06-18T18:14:22.147" v="1722"/>
          <ac:graphicFrameMkLst>
            <pc:docMk/>
            <pc:sldMk cId="4096159573" sldId="1302"/>
            <ac:graphicFrameMk id="6" creationId="{EE0C87EE-9CCF-4C46-8D46-9955A9DDA763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22.635" v="1723"/>
          <ac:graphicFrameMkLst>
            <pc:docMk/>
            <pc:sldMk cId="4096159573" sldId="1302"/>
            <ac:graphicFrameMk id="9" creationId="{E05D10C6-5631-2205-82FE-C8A74FED230A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36.161" v="1729"/>
        <pc:sldMkLst>
          <pc:docMk/>
          <pc:sldMk cId="2085750251" sldId="1303"/>
        </pc:sldMkLst>
        <pc:graphicFrameChg chg="mod">
          <ac:chgData name="Fässler, Oliver (JPKA 2)" userId="9a89f36f-748e-4f00-b20c-72cbec80bd4a" providerId="ADAL" clId="{F03FFBA4-D556-4158-9983-09A01B4E1D48}" dt="2025-06-18T18:14:35.601" v="1728"/>
          <ac:graphicFrameMkLst>
            <pc:docMk/>
            <pc:sldMk cId="2085750251" sldId="1303"/>
            <ac:graphicFrameMk id="6" creationId="{A02A9111-9F46-E6A7-8F8D-E44A55B7F5E2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36.161" v="1729"/>
          <ac:graphicFrameMkLst>
            <pc:docMk/>
            <pc:sldMk cId="2085750251" sldId="1303"/>
            <ac:graphicFrameMk id="7" creationId="{DDA1184C-5B1B-7BF1-AD78-20323002F399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32.014" v="1726"/>
        <pc:sldMkLst>
          <pc:docMk/>
          <pc:sldMk cId="579161337" sldId="1310"/>
        </pc:sldMkLst>
        <pc:graphicFrameChg chg="mod">
          <ac:chgData name="Fässler, Oliver (JPKA 2)" userId="9a89f36f-748e-4f00-b20c-72cbec80bd4a" providerId="ADAL" clId="{F03FFBA4-D556-4158-9983-09A01B4E1D48}" dt="2025-06-18T18:14:32.014" v="1726"/>
          <ac:graphicFrameMkLst>
            <pc:docMk/>
            <pc:sldMk cId="579161337" sldId="1310"/>
            <ac:graphicFrameMk id="6" creationId="{7E116EC8-8FFB-404C-B85B-3D7AB113C6CC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2:23.414" v="1676"/>
        <pc:sldMkLst>
          <pc:docMk/>
          <pc:sldMk cId="3608908019" sldId="1315"/>
        </pc:sldMkLst>
        <pc:graphicFrameChg chg="mod">
          <ac:chgData name="Fässler, Oliver (JPKA 2)" userId="9a89f36f-748e-4f00-b20c-72cbec80bd4a" providerId="ADAL" clId="{F03FFBA4-D556-4158-9983-09A01B4E1D48}" dt="2025-06-18T18:12:21.630" v="1672"/>
          <ac:graphicFrameMkLst>
            <pc:docMk/>
            <pc:sldMk cId="3608908019" sldId="1315"/>
            <ac:graphicFrameMk id="6" creationId="{21168BED-6E3B-5816-9717-3F22053DE877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22.018" v="1673"/>
          <ac:graphicFrameMkLst>
            <pc:docMk/>
            <pc:sldMk cId="3608908019" sldId="1315"/>
            <ac:graphicFrameMk id="7" creationId="{4C70C514-263F-5CBA-33E5-B4367232E76B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22.482" v="1674"/>
          <ac:graphicFrameMkLst>
            <pc:docMk/>
            <pc:sldMk cId="3608908019" sldId="1315"/>
            <ac:graphicFrameMk id="8" creationId="{69DFFD80-1D9B-7A21-8802-9A316330CA85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22.887" v="1675"/>
          <ac:graphicFrameMkLst>
            <pc:docMk/>
            <pc:sldMk cId="3608908019" sldId="1315"/>
            <ac:graphicFrameMk id="9" creationId="{60FFB864-0484-5A48-F642-4804E0833D81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23.414" v="1676"/>
          <ac:graphicFrameMkLst>
            <pc:docMk/>
            <pc:sldMk cId="3608908019" sldId="1315"/>
            <ac:graphicFrameMk id="10" creationId="{9BEA916E-2FA2-4F55-FBE9-FB433290385A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21.257" v="1671"/>
          <ac:graphicFrameMkLst>
            <pc:docMk/>
            <pc:sldMk cId="3608908019" sldId="1315"/>
            <ac:graphicFrameMk id="11" creationId="{C72169A3-DC5C-0634-D76A-DD6A4FC3BC5D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3:07.405" v="1707"/>
        <pc:sldMkLst>
          <pc:docMk/>
          <pc:sldMk cId="3494715005" sldId="1316"/>
        </pc:sldMkLst>
        <pc:graphicFrameChg chg="mod">
          <ac:chgData name="Fässler, Oliver (JPKA 2)" userId="9a89f36f-748e-4f00-b20c-72cbec80bd4a" providerId="ADAL" clId="{F03FFBA4-D556-4158-9983-09A01B4E1D48}" dt="2025-06-18T18:13:04.168" v="1706"/>
          <ac:graphicFrameMkLst>
            <pc:docMk/>
            <pc:sldMk cId="3494715005" sldId="1316"/>
            <ac:graphicFrameMk id="8" creationId="{1B33A645-EED2-46D6-A8CE-C6E9C5105EAA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3:07.405" v="1707"/>
          <ac:graphicFrameMkLst>
            <pc:docMk/>
            <pc:sldMk cId="3494715005" sldId="1316"/>
            <ac:graphicFrameMk id="11" creationId="{4EC842D5-23CC-4B3F-8EAD-5063099D1589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40.822" v="1735"/>
        <pc:sldMkLst>
          <pc:docMk/>
          <pc:sldMk cId="509674211" sldId="1323"/>
        </pc:sldMkLst>
        <pc:graphicFrameChg chg="mod">
          <ac:chgData name="Fässler, Oliver (JPKA 2)" userId="9a89f36f-748e-4f00-b20c-72cbec80bd4a" providerId="ADAL" clId="{F03FFBA4-D556-4158-9983-09A01B4E1D48}" dt="2025-06-18T18:14:37.287" v="1730"/>
          <ac:graphicFrameMkLst>
            <pc:docMk/>
            <pc:sldMk cId="509674211" sldId="1323"/>
            <ac:graphicFrameMk id="6" creationId="{91BFECD2-7217-4203-BBE7-14725D38D7CF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40.106" v="1734"/>
          <ac:graphicFrameMkLst>
            <pc:docMk/>
            <pc:sldMk cId="509674211" sldId="1323"/>
            <ac:graphicFrameMk id="7" creationId="{549895D7-7702-420E-91CF-11E3810AD0E8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40.822" v="1735"/>
          <ac:graphicFrameMkLst>
            <pc:docMk/>
            <pc:sldMk cId="509674211" sldId="1323"/>
            <ac:graphicFrameMk id="8" creationId="{34B0CED2-F187-6277-57E6-79E5C7F21BFA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38.046" v="1731"/>
          <ac:graphicFrameMkLst>
            <pc:docMk/>
            <pc:sldMk cId="509674211" sldId="1323"/>
            <ac:graphicFrameMk id="12" creationId="{A7D424BB-E9F4-4AE7-AAF5-D2A39EAA83E9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38.759" v="1732"/>
          <ac:graphicFrameMkLst>
            <pc:docMk/>
            <pc:sldMk cId="509674211" sldId="1323"/>
            <ac:graphicFrameMk id="13" creationId="{6AA153FF-5D8A-481F-9903-04EB1AD77E46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39.394" v="1733"/>
          <ac:graphicFrameMkLst>
            <pc:docMk/>
            <pc:sldMk cId="509674211" sldId="1323"/>
            <ac:graphicFrameMk id="14" creationId="{FD663A51-963A-43CF-ACD8-7C96CD331718}"/>
          </ac:graphicFrameMkLst>
        </pc:graphicFrameChg>
      </pc:sldChg>
      <pc:sldChg chg="addSp delSp modSp mod">
        <pc:chgData name="Fässler, Oliver (JPKA 2)" userId="9a89f36f-748e-4f00-b20c-72cbec80bd4a" providerId="ADAL" clId="{F03FFBA4-D556-4158-9983-09A01B4E1D48}" dt="2025-06-18T18:12:13.285" v="1664"/>
        <pc:sldMkLst>
          <pc:docMk/>
          <pc:sldMk cId="3715287574" sldId="1324"/>
        </pc:sldMkLst>
        <pc:graphicFrameChg chg="mod">
          <ac:chgData name="Fässler, Oliver (JPKA 2)" userId="9a89f36f-748e-4f00-b20c-72cbec80bd4a" providerId="ADAL" clId="{F03FFBA4-D556-4158-9983-09A01B4E1D48}" dt="2025-06-18T18:12:08.994" v="1663"/>
          <ac:graphicFrameMkLst>
            <pc:docMk/>
            <pc:sldMk cId="3715287574" sldId="1324"/>
            <ac:graphicFrameMk id="7" creationId="{6F1F953F-90D9-E702-B06B-7F23DDEC1FA6}"/>
          </ac:graphicFrameMkLst>
        </pc:graphicFrameChg>
        <pc:graphicFrameChg chg="add mod">
          <ac:chgData name="Fässler, Oliver (JPKA 2)" userId="9a89f36f-748e-4f00-b20c-72cbec80bd4a" providerId="ADAL" clId="{F03FFBA4-D556-4158-9983-09A01B4E1D48}" dt="2025-06-18T18:12:13.285" v="1664"/>
          <ac:graphicFrameMkLst>
            <pc:docMk/>
            <pc:sldMk cId="3715287574" sldId="1324"/>
            <ac:graphicFrameMk id="9" creationId="{32569807-A2C9-62A8-9A05-FAD3DE3FB9AE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2:16.242" v="1668"/>
        <pc:sldMkLst>
          <pc:docMk/>
          <pc:sldMk cId="3030541011" sldId="1331"/>
        </pc:sldMkLst>
        <pc:graphicFrameChg chg="mod">
          <ac:chgData name="Fässler, Oliver (JPKA 2)" userId="9a89f36f-748e-4f00-b20c-72cbec80bd4a" providerId="ADAL" clId="{F03FFBA4-D556-4158-9983-09A01B4E1D48}" dt="2025-06-18T18:12:15.805" v="1667"/>
          <ac:graphicFrameMkLst>
            <pc:docMk/>
            <pc:sldMk cId="3030541011" sldId="1331"/>
            <ac:graphicFrameMk id="6" creationId="{185F59C0-AFF3-4554-12F2-2E7233179C53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16.242" v="1668"/>
          <ac:graphicFrameMkLst>
            <pc:docMk/>
            <pc:sldMk cId="3030541011" sldId="1331"/>
            <ac:graphicFrameMk id="7" creationId="{003F8E4D-1B69-A642-AA29-0DAB3EA0C508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43.809" v="1738"/>
        <pc:sldMkLst>
          <pc:docMk/>
          <pc:sldMk cId="1182701688" sldId="1340"/>
        </pc:sldMkLst>
        <pc:graphicFrameChg chg="mod">
          <ac:chgData name="Fässler, Oliver (JPKA 2)" userId="9a89f36f-748e-4f00-b20c-72cbec80bd4a" providerId="ADAL" clId="{F03FFBA4-D556-4158-9983-09A01B4E1D48}" dt="2025-06-18T18:14:42.610" v="1737"/>
          <ac:graphicFrameMkLst>
            <pc:docMk/>
            <pc:sldMk cId="1182701688" sldId="1340"/>
            <ac:graphicFrameMk id="9" creationId="{82AD7937-E77C-42F0-930D-087C965ED18A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43.809" v="1738"/>
          <ac:graphicFrameMkLst>
            <pc:docMk/>
            <pc:sldMk cId="1182701688" sldId="1340"/>
            <ac:graphicFrameMk id="10" creationId="{98C00841-6533-4A67-BDB8-670E7929E571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2:19.989" v="1670"/>
        <pc:sldMkLst>
          <pc:docMk/>
          <pc:sldMk cId="1426590486" sldId="1341"/>
        </pc:sldMkLst>
        <pc:graphicFrameChg chg="mod">
          <ac:chgData name="Fässler, Oliver (JPKA 2)" userId="9a89f36f-748e-4f00-b20c-72cbec80bd4a" providerId="ADAL" clId="{F03FFBA4-D556-4158-9983-09A01B4E1D48}" dt="2025-06-18T18:12:18.705" v="1669"/>
          <ac:graphicFrameMkLst>
            <pc:docMk/>
            <pc:sldMk cId="1426590486" sldId="1341"/>
            <ac:graphicFrameMk id="11" creationId="{4EDD4ADF-534F-4BD4-8838-9A7F368E903F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19.989" v="1670"/>
          <ac:graphicFrameMkLst>
            <pc:docMk/>
            <pc:sldMk cId="1426590486" sldId="1341"/>
            <ac:graphicFrameMk id="12" creationId="{88250864-130E-4C18-854F-663B81F88715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2:34.573" v="1683"/>
        <pc:sldMkLst>
          <pc:docMk/>
          <pc:sldMk cId="1795353216" sldId="1342"/>
        </pc:sldMkLst>
        <pc:graphicFrameChg chg="mod">
          <ac:chgData name="Fässler, Oliver (JPKA 2)" userId="9a89f36f-748e-4f00-b20c-72cbec80bd4a" providerId="ADAL" clId="{F03FFBA4-D556-4158-9983-09A01B4E1D48}" dt="2025-06-18T18:12:33.642" v="1682"/>
          <ac:graphicFrameMkLst>
            <pc:docMk/>
            <pc:sldMk cId="1795353216" sldId="1342"/>
            <ac:graphicFrameMk id="7" creationId="{F85233B3-654F-42AC-907F-68AD3CB5201E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34.573" v="1683"/>
          <ac:graphicFrameMkLst>
            <pc:docMk/>
            <pc:sldMk cId="1795353216" sldId="1342"/>
            <ac:graphicFrameMk id="9" creationId="{9579416E-9648-494B-9D4A-1B8E9F67DA13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2:38.787" v="1687"/>
        <pc:sldMkLst>
          <pc:docMk/>
          <pc:sldMk cId="2956992687" sldId="1343"/>
        </pc:sldMkLst>
        <pc:graphicFrameChg chg="mod">
          <ac:chgData name="Fässler, Oliver (JPKA 2)" userId="9a89f36f-748e-4f00-b20c-72cbec80bd4a" providerId="ADAL" clId="{F03FFBA4-D556-4158-9983-09A01B4E1D48}" dt="2025-06-18T18:12:37.576" v="1686"/>
          <ac:graphicFrameMkLst>
            <pc:docMk/>
            <pc:sldMk cId="2956992687" sldId="1343"/>
            <ac:graphicFrameMk id="10" creationId="{6DE8BBAE-1AB5-4BEE-A6B9-0C05FDC92F30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38.787" v="1687"/>
          <ac:graphicFrameMkLst>
            <pc:docMk/>
            <pc:sldMk cId="2956992687" sldId="1343"/>
            <ac:graphicFrameMk id="11" creationId="{BCDE2368-C511-471E-8EE9-EA5AD0DFF0E4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2:43.269" v="1690"/>
        <pc:sldMkLst>
          <pc:docMk/>
          <pc:sldMk cId="2958140295" sldId="1344"/>
        </pc:sldMkLst>
        <pc:graphicFrameChg chg="mod">
          <ac:chgData name="Fässler, Oliver (JPKA 2)" userId="9a89f36f-748e-4f00-b20c-72cbec80bd4a" providerId="ADAL" clId="{F03FFBA4-D556-4158-9983-09A01B4E1D48}" dt="2025-06-18T18:12:40.450" v="1688"/>
          <ac:graphicFrameMkLst>
            <pc:docMk/>
            <pc:sldMk cId="2958140295" sldId="1344"/>
            <ac:graphicFrameMk id="6" creationId="{7E0D8DE2-2871-44BE-B3F1-0F5ABAA51CF7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42.417" v="1689"/>
          <ac:graphicFrameMkLst>
            <pc:docMk/>
            <pc:sldMk cId="2958140295" sldId="1344"/>
            <ac:graphicFrameMk id="7" creationId="{24F9ED06-FAFC-4628-8EED-D884DC6E6F3B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43.269" v="1690"/>
          <ac:graphicFrameMkLst>
            <pc:docMk/>
            <pc:sldMk cId="2958140295" sldId="1344"/>
            <ac:graphicFrameMk id="9" creationId="{6BED892B-81D4-48E7-A80E-9B9BC95486B6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2:51.583" v="1696"/>
        <pc:sldMkLst>
          <pc:docMk/>
          <pc:sldMk cId="1344822318" sldId="1345"/>
        </pc:sldMkLst>
        <pc:graphicFrameChg chg="mod">
          <ac:chgData name="Fässler, Oliver (JPKA 2)" userId="9a89f36f-748e-4f00-b20c-72cbec80bd4a" providerId="ADAL" clId="{F03FFBA4-D556-4158-9983-09A01B4E1D48}" dt="2025-06-18T18:12:50.519" v="1695"/>
          <ac:graphicFrameMkLst>
            <pc:docMk/>
            <pc:sldMk cId="1344822318" sldId="1345"/>
            <ac:graphicFrameMk id="6" creationId="{5E675E8A-EA07-4823-B9A2-656252D9221A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51.583" v="1696"/>
          <ac:graphicFrameMkLst>
            <pc:docMk/>
            <pc:sldMk cId="1344822318" sldId="1345"/>
            <ac:graphicFrameMk id="11" creationId="{8DAB0EBE-3532-42ED-8CD1-4BC2384225B6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3:02.190" v="1704"/>
        <pc:sldMkLst>
          <pc:docMk/>
          <pc:sldMk cId="3145001656" sldId="1346"/>
        </pc:sldMkLst>
        <pc:graphicFrameChg chg="mod">
          <ac:chgData name="Fässler, Oliver (JPKA 2)" userId="9a89f36f-748e-4f00-b20c-72cbec80bd4a" providerId="ADAL" clId="{F03FFBA4-D556-4158-9983-09A01B4E1D48}" dt="2025-06-18T18:13:01.464" v="1703"/>
          <ac:graphicFrameMkLst>
            <pc:docMk/>
            <pc:sldMk cId="3145001656" sldId="1346"/>
            <ac:graphicFrameMk id="6" creationId="{83EF0EF1-AEC3-464F-B9FE-AE401416C46A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3:02.190" v="1704"/>
          <ac:graphicFrameMkLst>
            <pc:docMk/>
            <pc:sldMk cId="3145001656" sldId="1346"/>
            <ac:graphicFrameMk id="8" creationId="{84862763-A0F1-49AE-9A70-8D16B0A9C7D0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3:08.721" v="1709"/>
        <pc:sldMkLst>
          <pc:docMk/>
          <pc:sldMk cId="3114164608" sldId="1347"/>
        </pc:sldMkLst>
        <pc:graphicFrameChg chg="mod">
          <ac:chgData name="Fässler, Oliver (JPKA 2)" userId="9a89f36f-748e-4f00-b20c-72cbec80bd4a" providerId="ADAL" clId="{F03FFBA4-D556-4158-9983-09A01B4E1D48}" dt="2025-06-18T18:13:08.137" v="1708"/>
          <ac:graphicFrameMkLst>
            <pc:docMk/>
            <pc:sldMk cId="3114164608" sldId="1347"/>
            <ac:graphicFrameMk id="9" creationId="{8FFF42F1-5098-95D4-949D-B3237CF6BB65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3:08.721" v="1709"/>
          <ac:graphicFrameMkLst>
            <pc:docMk/>
            <pc:sldMk cId="3114164608" sldId="1347"/>
            <ac:graphicFrameMk id="11" creationId="{1FEFC10A-8A38-D0F7-717F-FF6C17B855E6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08.799" v="1711"/>
        <pc:sldMkLst>
          <pc:docMk/>
          <pc:sldMk cId="4267386111" sldId="1348"/>
        </pc:sldMkLst>
        <pc:graphicFrameChg chg="mod">
          <ac:chgData name="Fässler, Oliver (JPKA 2)" userId="9a89f36f-748e-4f00-b20c-72cbec80bd4a" providerId="ADAL" clId="{F03FFBA4-D556-4158-9983-09A01B4E1D48}" dt="2025-06-18T18:13:09.851" v="1710"/>
          <ac:graphicFrameMkLst>
            <pc:docMk/>
            <pc:sldMk cId="4267386111" sldId="1348"/>
            <ac:graphicFrameMk id="7" creationId="{10657799-BCA1-4E51-BEB8-B04111C01751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08.799" v="1711"/>
          <ac:graphicFrameMkLst>
            <pc:docMk/>
            <pc:sldMk cId="4267386111" sldId="1348"/>
            <ac:graphicFrameMk id="8" creationId="{E86BC3A2-6D90-8858-C259-6EA4FD4E408E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18.116" v="1717"/>
        <pc:sldMkLst>
          <pc:docMk/>
          <pc:sldMk cId="2848407690" sldId="1349"/>
        </pc:sldMkLst>
        <pc:graphicFrameChg chg="mod">
          <ac:chgData name="Fässler, Oliver (JPKA 2)" userId="9a89f36f-748e-4f00-b20c-72cbec80bd4a" providerId="ADAL" clId="{F03FFBA4-D556-4158-9983-09A01B4E1D48}" dt="2025-06-18T18:14:18.116" v="1717"/>
          <ac:graphicFrameMkLst>
            <pc:docMk/>
            <pc:sldMk cId="2848407690" sldId="1349"/>
            <ac:graphicFrameMk id="6" creationId="{5F31AF93-4D47-06F7-E0D6-131CC57EB2FE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14.302" v="1716"/>
          <ac:graphicFrameMkLst>
            <pc:docMk/>
            <pc:sldMk cId="2848407690" sldId="1349"/>
            <ac:graphicFrameMk id="16" creationId="{23F02F30-D8CE-538B-1584-6B0552097D45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12.689" v="1715"/>
        <pc:sldMkLst>
          <pc:docMk/>
          <pc:sldMk cId="3602362000" sldId="1350"/>
        </pc:sldMkLst>
        <pc:graphicFrameChg chg="mod">
          <ac:chgData name="Fässler, Oliver (JPKA 2)" userId="9a89f36f-748e-4f00-b20c-72cbec80bd4a" providerId="ADAL" clId="{F03FFBA4-D556-4158-9983-09A01B4E1D48}" dt="2025-06-18T18:14:11.018" v="1713"/>
          <ac:graphicFrameMkLst>
            <pc:docMk/>
            <pc:sldMk cId="3602362000" sldId="1350"/>
            <ac:graphicFrameMk id="11" creationId="{9FD05414-FBC3-D8B1-80EE-67C79B360802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11.709" v="1714"/>
          <ac:graphicFrameMkLst>
            <pc:docMk/>
            <pc:sldMk cId="3602362000" sldId="1350"/>
            <ac:graphicFrameMk id="12" creationId="{2E9856EE-0F21-6D96-4955-DE10E721D63B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12.689" v="1715"/>
          <ac:graphicFrameMkLst>
            <pc:docMk/>
            <pc:sldMk cId="3602362000" sldId="1350"/>
            <ac:graphicFrameMk id="13" creationId="{7CB2F82A-AB53-E2E0-0782-F75A1D2BD2EA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21.176" v="1721"/>
        <pc:sldMkLst>
          <pc:docMk/>
          <pc:sldMk cId="2465033605" sldId="1351"/>
        </pc:sldMkLst>
        <pc:graphicFrameChg chg="mod">
          <ac:chgData name="Fässler, Oliver (JPKA 2)" userId="9a89f36f-748e-4f00-b20c-72cbec80bd4a" providerId="ADAL" clId="{F03FFBA4-D556-4158-9983-09A01B4E1D48}" dt="2025-06-18T18:14:20.678" v="1720"/>
          <ac:graphicFrameMkLst>
            <pc:docMk/>
            <pc:sldMk cId="2465033605" sldId="1351"/>
            <ac:graphicFrameMk id="7" creationId="{695A2EC5-92FD-49F1-3687-905771614517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21.176" v="1721"/>
          <ac:graphicFrameMkLst>
            <pc:docMk/>
            <pc:sldMk cId="2465033605" sldId="1351"/>
            <ac:graphicFrameMk id="11" creationId="{1CF9E198-E8AA-C450-66AA-15DBBF00099F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2:49.100" v="1694"/>
        <pc:sldMkLst>
          <pc:docMk/>
          <pc:sldMk cId="2988586403" sldId="1363"/>
        </pc:sldMkLst>
        <pc:graphicFrameChg chg="mod">
          <ac:chgData name="Fässler, Oliver (JPKA 2)" userId="9a89f36f-748e-4f00-b20c-72cbec80bd4a" providerId="ADAL" clId="{F03FFBA4-D556-4158-9983-09A01B4E1D48}" dt="2025-06-18T18:12:47.685" v="1693"/>
          <ac:graphicFrameMkLst>
            <pc:docMk/>
            <pc:sldMk cId="2988586403" sldId="1363"/>
            <ac:graphicFrameMk id="6" creationId="{283290D4-DDA0-1977-1CDD-9B5672947F5C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49.100" v="1694"/>
          <ac:graphicFrameMkLst>
            <pc:docMk/>
            <pc:sldMk cId="2988586403" sldId="1363"/>
            <ac:graphicFrameMk id="7" creationId="{D3E416B0-11B4-1FF9-F1F3-46C765F36794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2:36.139" v="1685"/>
        <pc:sldMkLst>
          <pc:docMk/>
          <pc:sldMk cId="3501154068" sldId="1367"/>
        </pc:sldMkLst>
        <pc:graphicFrameChg chg="mod">
          <ac:chgData name="Fässler, Oliver (JPKA 2)" userId="9a89f36f-748e-4f00-b20c-72cbec80bd4a" providerId="ADAL" clId="{F03FFBA4-D556-4158-9983-09A01B4E1D48}" dt="2025-06-18T18:12:35.528" v="1684"/>
          <ac:graphicFrameMkLst>
            <pc:docMk/>
            <pc:sldMk cId="3501154068" sldId="1367"/>
            <ac:graphicFrameMk id="6" creationId="{696C89B1-B973-ABE5-EEC3-3AFE7FC4AC76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36.139" v="1685"/>
          <ac:graphicFrameMkLst>
            <pc:docMk/>
            <pc:sldMk cId="3501154068" sldId="1367"/>
            <ac:graphicFrameMk id="7" creationId="{BD908630-CFED-8A5E-2414-BDC508E6AD40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44.973" v="1740"/>
        <pc:sldMkLst>
          <pc:docMk/>
          <pc:sldMk cId="3624293527" sldId="1369"/>
        </pc:sldMkLst>
        <pc:graphicFrameChg chg="mod">
          <ac:chgData name="Fässler, Oliver (JPKA 2)" userId="9a89f36f-748e-4f00-b20c-72cbec80bd4a" providerId="ADAL" clId="{F03FFBA4-D556-4158-9983-09A01B4E1D48}" dt="2025-06-18T18:14:44.505" v="1739"/>
          <ac:graphicFrameMkLst>
            <pc:docMk/>
            <pc:sldMk cId="3624293527" sldId="1369"/>
            <ac:graphicFrameMk id="7" creationId="{9D6828D9-CC1E-5CB4-73EA-C4B4105006A2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44.973" v="1740"/>
          <ac:graphicFrameMkLst>
            <pc:docMk/>
            <pc:sldMk cId="3624293527" sldId="1369"/>
            <ac:graphicFrameMk id="8" creationId="{005489EC-4380-3327-229E-6F37C3460BE2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3:02.987" v="1705"/>
        <pc:sldMkLst>
          <pc:docMk/>
          <pc:sldMk cId="2707699499" sldId="1370"/>
        </pc:sldMkLst>
        <pc:graphicFrameChg chg="mod">
          <ac:chgData name="Fässler, Oliver (JPKA 2)" userId="9a89f36f-748e-4f00-b20c-72cbec80bd4a" providerId="ADAL" clId="{F03FFBA4-D556-4158-9983-09A01B4E1D48}" dt="2025-06-18T18:13:02.987" v="1705"/>
          <ac:graphicFrameMkLst>
            <pc:docMk/>
            <pc:sldMk cId="2707699499" sldId="1370"/>
            <ac:graphicFrameMk id="10" creationId="{80CA2378-A85E-A3BF-A803-A4226D6D1E8D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2:15.193" v="1666"/>
        <pc:sldMkLst>
          <pc:docMk/>
          <pc:sldMk cId="1464327739" sldId="1371"/>
        </pc:sldMkLst>
        <pc:graphicFrameChg chg="mod">
          <ac:chgData name="Fässler, Oliver (JPKA 2)" userId="9a89f36f-748e-4f00-b20c-72cbec80bd4a" providerId="ADAL" clId="{F03FFBA4-D556-4158-9983-09A01B4E1D48}" dt="2025-06-18T18:12:15.193" v="1666"/>
          <ac:graphicFrameMkLst>
            <pc:docMk/>
            <pc:sldMk cId="1464327739" sldId="1371"/>
            <ac:graphicFrameMk id="6" creationId="{46C764F3-6AE3-A881-6268-9C8C64150519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14.563" v="1665"/>
          <ac:graphicFrameMkLst>
            <pc:docMk/>
            <pc:sldMk cId="1464327739" sldId="1371"/>
            <ac:graphicFrameMk id="8" creationId="{9A9602C2-5A4F-40F3-BE4E-8086044F8207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2:28.034" v="1680"/>
        <pc:sldMkLst>
          <pc:docMk/>
          <pc:sldMk cId="3882826620" sldId="1372"/>
        </pc:sldMkLst>
        <pc:graphicFrameChg chg="mod">
          <ac:chgData name="Fässler, Oliver (JPKA 2)" userId="9a89f36f-748e-4f00-b20c-72cbec80bd4a" providerId="ADAL" clId="{F03FFBA4-D556-4158-9983-09A01B4E1D48}" dt="2025-06-18T18:12:24.471" v="1677"/>
          <ac:graphicFrameMkLst>
            <pc:docMk/>
            <pc:sldMk cId="3882826620" sldId="1372"/>
            <ac:graphicFrameMk id="6" creationId="{31C81929-3C55-7776-E297-A78F6D89E4D1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26.193" v="1678"/>
          <ac:graphicFrameMkLst>
            <pc:docMk/>
            <pc:sldMk cId="3882826620" sldId="1372"/>
            <ac:graphicFrameMk id="8" creationId="{B5C7A757-1EFE-26D3-0A4D-1AA5F06EAD55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26.941" v="1679"/>
          <ac:graphicFrameMkLst>
            <pc:docMk/>
            <pc:sldMk cId="3882826620" sldId="1372"/>
            <ac:graphicFrameMk id="9" creationId="{73F8FF02-AF43-80F0-CAB8-CE1D83BA949F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28.034" v="1680"/>
          <ac:graphicFrameMkLst>
            <pc:docMk/>
            <pc:sldMk cId="3882826620" sldId="1372"/>
            <ac:graphicFrameMk id="10" creationId="{9977EF7C-1F14-F536-9FC8-44CAA4F302D5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32.779" v="1727"/>
        <pc:sldMkLst>
          <pc:docMk/>
          <pc:sldMk cId="1306260106" sldId="1374"/>
        </pc:sldMkLst>
        <pc:graphicFrameChg chg="mod">
          <ac:chgData name="Fässler, Oliver (JPKA 2)" userId="9a89f36f-748e-4f00-b20c-72cbec80bd4a" providerId="ADAL" clId="{F03FFBA4-D556-4158-9983-09A01B4E1D48}" dt="2025-06-18T18:14:32.779" v="1727"/>
          <ac:graphicFrameMkLst>
            <pc:docMk/>
            <pc:sldMk cId="1306260106" sldId="1374"/>
            <ac:graphicFrameMk id="7" creationId="{356D13E2-808B-CF13-BCA6-A692C3C6E6BC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2:58.072" v="1700"/>
        <pc:sldMkLst>
          <pc:docMk/>
          <pc:sldMk cId="1620914173" sldId="1375"/>
        </pc:sldMkLst>
        <pc:graphicFrameChg chg="mod">
          <ac:chgData name="Fässler, Oliver (JPKA 2)" userId="9a89f36f-748e-4f00-b20c-72cbec80bd4a" providerId="ADAL" clId="{F03FFBA4-D556-4158-9983-09A01B4E1D48}" dt="2025-06-18T18:12:57.717" v="1699"/>
          <ac:graphicFrameMkLst>
            <pc:docMk/>
            <pc:sldMk cId="1620914173" sldId="1375"/>
            <ac:graphicFrameMk id="10" creationId="{4EBAC9F1-6583-1768-6520-1E570CEA861F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2:58.072" v="1700"/>
          <ac:graphicFrameMkLst>
            <pc:docMk/>
            <pc:sldMk cId="1620914173" sldId="1375"/>
            <ac:graphicFrameMk id="11" creationId="{1B56F748-4630-031E-DA83-0BB0BC14DE37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3:00.573" v="1702"/>
        <pc:sldMkLst>
          <pc:docMk/>
          <pc:sldMk cId="2237104615" sldId="1393"/>
        </pc:sldMkLst>
        <pc:graphicFrameChg chg="mod">
          <ac:chgData name="Fässler, Oliver (JPKA 2)" userId="9a89f36f-748e-4f00-b20c-72cbec80bd4a" providerId="ADAL" clId="{F03FFBA4-D556-4158-9983-09A01B4E1D48}" dt="2025-06-18T18:12:59.126" v="1701"/>
          <ac:graphicFrameMkLst>
            <pc:docMk/>
            <pc:sldMk cId="2237104615" sldId="1393"/>
            <ac:graphicFrameMk id="6" creationId="{C2E7707E-DDB6-43F8-3FEC-3036D37FE834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3:00.573" v="1702"/>
          <ac:graphicFrameMkLst>
            <pc:docMk/>
            <pc:sldMk cId="2237104615" sldId="1393"/>
            <ac:graphicFrameMk id="12" creationId="{DE60A84F-C5D0-5156-6927-1A0FC8D66204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48.485" v="1744"/>
        <pc:sldMkLst>
          <pc:docMk/>
          <pc:sldMk cId="506634367" sldId="1400"/>
        </pc:sldMkLst>
        <pc:graphicFrameChg chg="mod">
          <ac:chgData name="Fässler, Oliver (JPKA 2)" userId="9a89f36f-748e-4f00-b20c-72cbec80bd4a" providerId="ADAL" clId="{F03FFBA4-D556-4158-9983-09A01B4E1D48}" dt="2025-06-18T18:14:46.604" v="1741"/>
          <ac:graphicFrameMkLst>
            <pc:docMk/>
            <pc:sldMk cId="506634367" sldId="1400"/>
            <ac:graphicFrameMk id="15" creationId="{EF39990E-E9E8-85C7-910A-527FFE701289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47.119" v="1742"/>
          <ac:graphicFrameMkLst>
            <pc:docMk/>
            <pc:sldMk cId="506634367" sldId="1400"/>
            <ac:graphicFrameMk id="16" creationId="{DF9E3715-457F-A33F-7596-46B92DD63EF2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47.552" v="1743"/>
          <ac:graphicFrameMkLst>
            <pc:docMk/>
            <pc:sldMk cId="506634367" sldId="1400"/>
            <ac:graphicFrameMk id="17" creationId="{6506E836-4ED2-BC63-E1A7-9F8F76360889}"/>
          </ac:graphicFrameMkLst>
        </pc:graphicFrameChg>
        <pc:graphicFrameChg chg="mod">
          <ac:chgData name="Fässler, Oliver (JPKA 2)" userId="9a89f36f-748e-4f00-b20c-72cbec80bd4a" providerId="ADAL" clId="{F03FFBA4-D556-4158-9983-09A01B4E1D48}" dt="2025-06-18T18:14:48.485" v="1744"/>
          <ac:graphicFrameMkLst>
            <pc:docMk/>
            <pc:sldMk cId="506634367" sldId="1400"/>
            <ac:graphicFrameMk id="18" creationId="{A027C80D-E0F5-88DC-63CA-0E5FD0450473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41.621" v="1736"/>
        <pc:sldMkLst>
          <pc:docMk/>
          <pc:sldMk cId="2921516919" sldId="1401"/>
        </pc:sldMkLst>
        <pc:graphicFrameChg chg="mod">
          <ac:chgData name="Fässler, Oliver (JPKA 2)" userId="9a89f36f-748e-4f00-b20c-72cbec80bd4a" providerId="ADAL" clId="{F03FFBA4-D556-4158-9983-09A01B4E1D48}" dt="2025-06-18T18:14:41.621" v="1736"/>
          <ac:graphicFrameMkLst>
            <pc:docMk/>
            <pc:sldMk cId="2921516919" sldId="1401"/>
            <ac:graphicFrameMk id="6" creationId="{A8665B07-014D-118B-B5FF-33ADD8DCF257}"/>
          </ac:graphicFrameMkLst>
        </pc:graphicFrameChg>
      </pc:sldChg>
      <pc:sldChg chg="modSp">
        <pc:chgData name="Fässler, Oliver (JPKA 2)" userId="9a89f36f-748e-4f00-b20c-72cbec80bd4a" providerId="ADAL" clId="{F03FFBA4-D556-4158-9983-09A01B4E1D48}" dt="2025-06-18T18:14:10.089" v="1712"/>
        <pc:sldMkLst>
          <pc:docMk/>
          <pc:sldMk cId="3632123786" sldId="1402"/>
        </pc:sldMkLst>
        <pc:graphicFrameChg chg="mod">
          <ac:chgData name="Fässler, Oliver (JPKA 2)" userId="9a89f36f-748e-4f00-b20c-72cbec80bd4a" providerId="ADAL" clId="{F03FFBA4-D556-4158-9983-09A01B4E1D48}" dt="2025-06-18T18:14:10.089" v="1712"/>
          <ac:graphicFrameMkLst>
            <pc:docMk/>
            <pc:sldMk cId="3632123786" sldId="1402"/>
            <ac:graphicFrameMk id="6" creationId="{AFA66E12-D56A-3977-778E-0AE30C14D944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9062C8-3AC5-48FE-9B31-796C7BEC3BCB}" type="datetimeFigureOut">
              <a:rPr lang="en-US" smtClean="0"/>
              <a:t>6/1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573E9C-C42F-42B4-8479-8AA36AF121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244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lackrock.com/corporate/insights/blackrock-investment-institute/interactive-charts/geopolitical-risk-dashboard#risk-summary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weforum.org/reports/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markets.jpmorgan.com/#research.publication_page&amp;publicationId=9000850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573E9C-C42F-42B4-8479-8AA36AF1213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4119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Geopolitical Risk Dashboard | BlackRock Investment Institute</a:t>
            </a:r>
            <a:endParaRPr lang="en-US" dirty="0"/>
          </a:p>
          <a:p>
            <a:r>
              <a:rPr lang="en-US" dirty="0">
                <a:hlinkClick r:id="rId4"/>
              </a:rPr>
              <a:t>Reports | World Economic Forum (weforum.org)</a:t>
            </a:r>
            <a:endParaRPr lang="en-US" dirty="0"/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573E9C-C42F-42B4-8479-8AA36AF1213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5683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hlinkClick r:id="rId3"/>
              </a:rPr>
              <a:t>Publication</a:t>
            </a:r>
            <a:r>
              <a:rPr lang="de-CH" dirty="0">
                <a:hlinkClick r:id="rId3"/>
              </a:rPr>
              <a:t> Page - J.P. Morgan </a:t>
            </a:r>
            <a:r>
              <a:rPr lang="de-CH" dirty="0" err="1">
                <a:hlinkClick r:id="rId3"/>
              </a:rPr>
              <a:t>Markets</a:t>
            </a:r>
            <a:r>
              <a:rPr lang="de-CH" dirty="0">
                <a:hlinkClick r:id="rId3"/>
              </a:rPr>
              <a:t> (jpmorgan.com)</a:t>
            </a:r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573E9C-C42F-42B4-8479-8AA36AF1213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7910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573E9C-C42F-42B4-8479-8AA36AF1213D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7294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573E9C-C42F-42B4-8479-8AA36AF1213D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631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517472E0-274A-4F7F-8122-10F757C129E9}"/>
              </a:ext>
            </a:extLst>
          </p:cNvPr>
          <p:cNvSpPr>
            <a:spLocks noChangeAspect="1"/>
          </p:cNvSpPr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24" name="Graphic 3">
            <a:extLst>
              <a:ext uri="{FF2B5EF4-FFF2-40B4-BE49-F238E27FC236}">
                <a16:creationId xmlns:a16="http://schemas.microsoft.com/office/drawing/2014/main" id="{98011643-CBD1-483A-8FA2-FD3A99A4D5F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845564" y="976748"/>
            <a:ext cx="5579356" cy="39195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0168"/>
            <a:ext cx="5688000" cy="444737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DC818FC-E3E1-45AA-ACFA-85EAC2BE6B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B84CF56-3AC3-4C68-BA38-3F6F2409CE5C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688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4">
            <a:extLst>
              <a:ext uri="{FF2B5EF4-FFF2-40B4-BE49-F238E27FC236}">
                <a16:creationId xmlns:a16="http://schemas.microsoft.com/office/drawing/2014/main" id="{23B4FBD9-D2EF-4357-87E1-AE33A1492F15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432048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824536 h 5868000"/>
              <a:gd name="connsiteX3" fmla="*/ 6516724 w 8712000"/>
              <a:gd name="connsiteY3" fmla="*/ 4824536 h 5868000"/>
              <a:gd name="connsiteX4" fmla="*/ 6516724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1795439 h 5868000"/>
              <a:gd name="connsiteX7" fmla="*/ 432048 w 8712000"/>
              <a:gd name="connsiteY7" fmla="*/ 1795439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432048" y="0"/>
                </a:moveTo>
                <a:lnTo>
                  <a:pt x="8712000" y="0"/>
                </a:lnTo>
                <a:lnTo>
                  <a:pt x="8712000" y="4824536"/>
                </a:lnTo>
                <a:lnTo>
                  <a:pt x="6516724" y="4824536"/>
                </a:lnTo>
                <a:lnTo>
                  <a:pt x="6516724" y="5868000"/>
                </a:lnTo>
                <a:lnTo>
                  <a:pt x="0" y="5868000"/>
                </a:lnTo>
                <a:lnTo>
                  <a:pt x="0" y="1795439"/>
                </a:lnTo>
                <a:lnTo>
                  <a:pt x="432048" y="1795439"/>
                </a:lnTo>
                <a:close/>
              </a:path>
            </a:pathLst>
          </a:custGeom>
          <a:solidFill>
            <a:srgbClr val="D7E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1736812"/>
            <a:ext cx="6840000" cy="360099"/>
          </a:xfrm>
        </p:spPr>
        <p:txBody>
          <a:bodyPr vert="horz" anchor="t"/>
          <a:lstStyle>
            <a:lvl1pPr>
              <a:defRPr sz="26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399008613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4">
            <a:extLst>
              <a:ext uri="{FF2B5EF4-FFF2-40B4-BE49-F238E27FC236}">
                <a16:creationId xmlns:a16="http://schemas.microsoft.com/office/drawing/2014/main" id="{23B4FBD9-D2EF-4357-87E1-AE33A1492F15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432048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824536 h 5868000"/>
              <a:gd name="connsiteX3" fmla="*/ 6516724 w 8712000"/>
              <a:gd name="connsiteY3" fmla="*/ 4824536 h 5868000"/>
              <a:gd name="connsiteX4" fmla="*/ 6516724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1795439 h 5868000"/>
              <a:gd name="connsiteX7" fmla="*/ 432048 w 8712000"/>
              <a:gd name="connsiteY7" fmla="*/ 1795439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432048" y="0"/>
                </a:moveTo>
                <a:lnTo>
                  <a:pt x="8712000" y="0"/>
                </a:lnTo>
                <a:lnTo>
                  <a:pt x="8712000" y="4824536"/>
                </a:lnTo>
                <a:lnTo>
                  <a:pt x="6516724" y="4824536"/>
                </a:lnTo>
                <a:lnTo>
                  <a:pt x="6516724" y="5868000"/>
                </a:lnTo>
                <a:lnTo>
                  <a:pt x="0" y="5868000"/>
                </a:lnTo>
                <a:lnTo>
                  <a:pt x="0" y="1795439"/>
                </a:lnTo>
                <a:lnTo>
                  <a:pt x="432048" y="1795439"/>
                </a:lnTo>
                <a:close/>
              </a:path>
            </a:pathLst>
          </a:custGeom>
          <a:solidFill>
            <a:srgbClr val="F7D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1736812"/>
            <a:ext cx="6840000" cy="360099"/>
          </a:xfrm>
        </p:spPr>
        <p:txBody>
          <a:bodyPr vert="horz" anchor="t"/>
          <a:lstStyle>
            <a:lvl1pPr>
              <a:defRPr sz="26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36958793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1990184-F1DF-4C7B-A5B2-CCEBC101E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95B0F28-BA9F-4CB5-88D0-94FD149AA0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43E75B16-C59A-4DB2-9C1D-DA7599F80D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8712000" cy="464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02652564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F38E2B6-7644-4F0C-8305-F14C8FD7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032A1F76-24E6-4836-86FF-E39EC472CF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E852FB8-4E1B-46B6-89AA-3FE5240353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0012" y="1448780"/>
            <a:ext cx="4248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91348183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B29E1A3-AF07-4C7D-84E1-17F8C9ED7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24C227-0D3B-41E2-8490-A021E6DA72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77808CA1-1186-4B56-8969-576F07DB85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1448780"/>
            <a:ext cx="2772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095165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15516" y="1304764"/>
            <a:ext cx="8712000" cy="4788000"/>
          </a:xfrm>
          <a:prstGeom prst="rect">
            <a:avLst/>
          </a:prstGeom>
          <a:solidFill>
            <a:srgbClr val="F7D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A45D926-7865-4917-8960-3ACF3CAB92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66399766-D2F4-4E6D-A2B7-EF7D9D7C16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09808948-2832-41BA-9680-40191DAA9CE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0049792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75E6DC5-BDCC-450B-B76F-34A5A6047D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62587DC-DFC9-4862-B49B-06E12896DEE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7A5DE667-969D-4674-BCB7-E81B36CF79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260"/>
            <a:ext cx="4248000" cy="4644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5198243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007585A-3CF3-4F70-A330-F260177F3E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B8FFC63-47CB-4E98-9D58-1F601275E0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1" name="Slide Number Placeholder 30">
            <a:extLst>
              <a:ext uri="{FF2B5EF4-FFF2-40B4-BE49-F238E27FC236}">
                <a16:creationId xmlns:a16="http://schemas.microsoft.com/office/drawing/2014/main" id="{6C391CB6-CB07-47FD-A0D6-44C1B7683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56176" y="1304764"/>
            <a:ext cx="2772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483421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82">
          <p15:clr>
            <a:srgbClr val="FBAE40"/>
          </p15:clr>
        </p15:guide>
        <p15:guide id="2" pos="2018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C5B7D1B-A3B0-4FFF-A637-80DCBACFA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C6671FD-8C01-4524-B045-36191C8CDCB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C246DF6-8D8B-4BCC-BD75-9141F229FB1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3573016"/>
            <a:ext cx="2772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3573016"/>
            <a:ext cx="2736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3573016"/>
            <a:ext cx="2772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203848" y="1304764"/>
            <a:ext cx="2736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5617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00458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81F54E4-B465-4AF2-8EB5-E3328BF2F3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D6CB37D-F6B1-4C3B-8786-6EE8CA79448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24D66E7-46C8-4DC5-9B4E-8EA53CE4A9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5732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1990184-F1DF-4C7B-A5B2-CCEBC101E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95B0F28-BA9F-4CB5-88D0-94FD149AA0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43E75B16-C59A-4DB2-9C1D-DA7599F80D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8712000" cy="464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990606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F38E2B6-7644-4F0C-8305-F14C8FD7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032A1F76-24E6-4836-86FF-E39EC472CF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E852FB8-4E1B-46B6-89AA-3FE5240353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0012" y="1448780"/>
            <a:ext cx="4248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40168933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B29E1A3-AF07-4C7D-84E1-17F8C9ED7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24C227-0D3B-41E2-8490-A021E6DA72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77808CA1-1186-4B56-8969-576F07DB85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1448780"/>
            <a:ext cx="2772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30853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15516" y="1304764"/>
            <a:ext cx="8712000" cy="4788000"/>
          </a:xfrm>
          <a:prstGeom prst="rect">
            <a:avLst/>
          </a:prstGeom>
          <a:solidFill>
            <a:srgbClr val="D7E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A45D926-7865-4917-8960-3ACF3CAB92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66399766-D2F4-4E6D-A2B7-EF7D9D7C16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09808948-2832-41BA-9680-40191DAA9CE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619048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75E6DC5-BDCC-450B-B76F-34A5A6047D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62587DC-DFC9-4862-B49B-06E12896DEE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7A5DE667-969D-4674-BCB7-E81B36CF79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260"/>
            <a:ext cx="4248000" cy="4644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375717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007585A-3CF3-4F70-A330-F260177F3E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B8FFC63-47CB-4E98-9D58-1F601275E0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1" name="Slide Number Placeholder 30">
            <a:extLst>
              <a:ext uri="{FF2B5EF4-FFF2-40B4-BE49-F238E27FC236}">
                <a16:creationId xmlns:a16="http://schemas.microsoft.com/office/drawing/2014/main" id="{6C391CB6-CB07-47FD-A0D6-44C1B7683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56176" y="1304764"/>
            <a:ext cx="2772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076525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82">
          <p15:clr>
            <a:srgbClr val="FBAE40"/>
          </p15:clr>
        </p15:guide>
        <p15:guide id="2" pos="2018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C5B7D1B-A3B0-4FFF-A637-80DCBACFA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C6671FD-8C01-4524-B045-36191C8CDCB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C246DF6-8D8B-4BCC-BD75-9141F229FB1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3573016"/>
            <a:ext cx="2772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3573016"/>
            <a:ext cx="2736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3573016"/>
            <a:ext cx="2772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203848" y="1304764"/>
            <a:ext cx="2736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5617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341294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81F54E4-B465-4AF2-8EB5-E3328BF2F3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D6CB37D-F6B1-4C3B-8786-6EE8CA79448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24D66E7-46C8-4DC5-9B4E-8EA53CE4A9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0112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517472E0-274A-4F7F-8122-10F757C129E9}"/>
              </a:ext>
            </a:extLst>
          </p:cNvPr>
          <p:cNvSpPr>
            <a:spLocks noChangeAspect="1"/>
          </p:cNvSpPr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24" name="Graphic 3">
            <a:extLst>
              <a:ext uri="{FF2B5EF4-FFF2-40B4-BE49-F238E27FC236}">
                <a16:creationId xmlns:a16="http://schemas.microsoft.com/office/drawing/2014/main" id="{98011643-CBD1-483A-8FA2-FD3A99A4D5F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845564" y="976748"/>
            <a:ext cx="5579356" cy="39195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0168"/>
            <a:ext cx="5688000" cy="444737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DC818FC-E3E1-45AA-ACFA-85EAC2BE6B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B84CF56-3AC3-4C68-BA38-3F6F2409CE5C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165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D197ED49-D267-4B6D-916F-3D05F5F8FAD6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499B0A3C-2972-46AF-8532-23FF8BFCE7F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36000" rIns="72000" bIns="36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EAE89632-66FC-4DB5-B805-E09152B277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F7D9526-2868-42F4-8E5A-B48B51DA7AC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674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D197ED49-D267-4B6D-916F-3D05F5F8FAD6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499B0A3C-2972-46AF-8532-23FF8BFCE7F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36000" rIns="72000" bIns="36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EAE89632-66FC-4DB5-B805-E09152B277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F7D9526-2868-42F4-8E5A-B48B51DA7AC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8722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51295168-1622-4F07-94DC-D4BC256B19AF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C2EC741C-4CA5-42A0-BCAF-FB6B71B569D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58C71A8B-8B9B-445A-BEF9-72BBDC9D0A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55B41DE-2000-4EF6-A463-0291B086E58A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754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029195EE-51BA-49B0-B772-4AA61B3E701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E96935F-4F08-4963-B4BE-2533AD5F6009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1022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F8ED8EDB-7E74-4D7F-A4B7-50E734102E3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70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70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270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A6F250F-DB7E-4ABE-938C-6E0711CE89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D6312EB-3193-441A-A20F-2F06A88ADC4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6058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DDF2BA32-7135-40B3-A428-65D508FAD6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sz="1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tle bespoke: add your own image with integrated key visual sails (see sample slides)</a:t>
            </a:r>
            <a:br>
              <a:rPr lang="en-US" sz="11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9AE6F19-A243-4784-BBFC-D7A4850C04F3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3222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5BA840F-0D9B-4CE1-844C-1B6F35B97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15516" y="224644"/>
            <a:ext cx="8712000" cy="360099"/>
          </a:xfrm>
        </p:spPr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6B9182-0630-4F5B-A58F-05C5774AFAF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A9C36FD-7D7C-4465-BD43-869ACDB27DD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552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552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5516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552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9552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5516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9552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552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80012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004048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04048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680012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004048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004048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80012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004048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04048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15969673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5">
            <a:extLst>
              <a:ext uri="{FF2B5EF4-FFF2-40B4-BE49-F238E27FC236}">
                <a16:creationId xmlns:a16="http://schemas.microsoft.com/office/drawing/2014/main" id="{35D17073-DD74-4B07-93BF-B38CD333686E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C5C6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2941683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3249770-7B73-44E6-9403-6C6C810A272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6023151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4">
            <a:extLst>
              <a:ext uri="{FF2B5EF4-FFF2-40B4-BE49-F238E27FC236}">
                <a16:creationId xmlns:a16="http://schemas.microsoft.com/office/drawing/2014/main" id="{23B4FBD9-D2EF-4357-87E1-AE33A1492F15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432048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824536 h 5868000"/>
              <a:gd name="connsiteX3" fmla="*/ 6516724 w 8712000"/>
              <a:gd name="connsiteY3" fmla="*/ 4824536 h 5868000"/>
              <a:gd name="connsiteX4" fmla="*/ 6516724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1795439 h 5868000"/>
              <a:gd name="connsiteX7" fmla="*/ 432048 w 8712000"/>
              <a:gd name="connsiteY7" fmla="*/ 1795439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432048" y="0"/>
                </a:moveTo>
                <a:lnTo>
                  <a:pt x="8712000" y="0"/>
                </a:lnTo>
                <a:lnTo>
                  <a:pt x="8712000" y="4824536"/>
                </a:lnTo>
                <a:lnTo>
                  <a:pt x="6516724" y="4824536"/>
                </a:lnTo>
                <a:lnTo>
                  <a:pt x="6516724" y="5868000"/>
                </a:lnTo>
                <a:lnTo>
                  <a:pt x="0" y="5868000"/>
                </a:lnTo>
                <a:lnTo>
                  <a:pt x="0" y="1795439"/>
                </a:lnTo>
                <a:lnTo>
                  <a:pt x="432048" y="1795439"/>
                </a:lnTo>
                <a:close/>
              </a:path>
            </a:pathLst>
          </a:custGeom>
          <a:solidFill>
            <a:srgbClr val="E1E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1736812"/>
            <a:ext cx="6840000" cy="360099"/>
          </a:xfrm>
        </p:spPr>
        <p:txBody>
          <a:bodyPr vert="horz" anchor="t"/>
          <a:lstStyle>
            <a:lvl1pPr>
              <a:defRPr sz="26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24604299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1990184-F1DF-4C7B-A5B2-CCEBC101E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95B0F28-BA9F-4CB5-88D0-94FD149AA0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43E75B16-C59A-4DB2-9C1D-DA7599F80D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8712000" cy="464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2138829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51295168-1622-4F07-94DC-D4BC256B19AF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C2EC741C-4CA5-42A0-BCAF-FB6B71B569D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58C71A8B-8B9B-445A-BEF9-72BBDC9D0A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55B41DE-2000-4EF6-A463-0291B086E58A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3248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F38E2B6-7644-4F0C-8305-F14C8FD7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032A1F76-24E6-4836-86FF-E39EC472CF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E852FB8-4E1B-46B6-89AA-3FE5240353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0012" y="1448780"/>
            <a:ext cx="4248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7933898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B29E1A3-AF07-4C7D-84E1-17F8C9ED7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24C227-0D3B-41E2-8490-A021E6DA72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77808CA1-1186-4B56-8969-576F07DB85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1448780"/>
            <a:ext cx="2772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593307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15516" y="1304764"/>
            <a:ext cx="8712000" cy="4788000"/>
          </a:xfrm>
          <a:prstGeom prst="rect">
            <a:avLst/>
          </a:prstGeom>
          <a:solidFill>
            <a:srgbClr val="E1E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A45D926-7865-4917-8960-3ACF3CAB92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66399766-D2F4-4E6D-A2B7-EF7D9D7C16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09808948-2832-41BA-9680-40191DAA9CE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41928687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75E6DC5-BDCC-450B-B76F-34A5A6047D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62587DC-DFC9-4862-B49B-06E12896DEE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7A5DE667-969D-4674-BCB7-E81B36CF79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260"/>
            <a:ext cx="4248000" cy="4644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8537395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007585A-3CF3-4F70-A330-F260177F3E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B8FFC63-47CB-4E98-9D58-1F601275E0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1" name="Slide Number Placeholder 30">
            <a:extLst>
              <a:ext uri="{FF2B5EF4-FFF2-40B4-BE49-F238E27FC236}">
                <a16:creationId xmlns:a16="http://schemas.microsoft.com/office/drawing/2014/main" id="{6C391CB6-CB07-47FD-A0D6-44C1B7683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56176" y="1304764"/>
            <a:ext cx="2772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109776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82">
          <p15:clr>
            <a:srgbClr val="FBAE40"/>
          </p15:clr>
        </p15:guide>
        <p15:guide id="2" pos="2018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C5B7D1B-A3B0-4FFF-A637-80DCBACFA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C6671FD-8C01-4524-B045-36191C8CDCB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C246DF6-8D8B-4BCC-BD75-9141F229FB1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3573016"/>
            <a:ext cx="2772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3573016"/>
            <a:ext cx="2736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3573016"/>
            <a:ext cx="2772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203848" y="1304764"/>
            <a:ext cx="2736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5617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773385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81F54E4-B465-4AF2-8EB5-E3328BF2F3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D6CB37D-F6B1-4C3B-8786-6EE8CA79448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24D66E7-46C8-4DC5-9B4E-8EA53CE4A9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69655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517472E0-274A-4F7F-8122-10F757C129E9}"/>
              </a:ext>
            </a:extLst>
          </p:cNvPr>
          <p:cNvSpPr>
            <a:spLocks noChangeAspect="1"/>
          </p:cNvSpPr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24" name="Graphic 3">
            <a:extLst>
              <a:ext uri="{FF2B5EF4-FFF2-40B4-BE49-F238E27FC236}">
                <a16:creationId xmlns:a16="http://schemas.microsoft.com/office/drawing/2014/main" id="{98011643-CBD1-483A-8FA2-FD3A99A4D5F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845564" y="976748"/>
            <a:ext cx="5579356" cy="39195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0168"/>
            <a:ext cx="5688000" cy="444737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DC818FC-E3E1-45AA-ACFA-85EAC2BE6B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B84CF56-3AC3-4C68-BA38-3F6F2409CE5C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8139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D197ED49-D267-4B6D-916F-3D05F5F8FAD6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499B0A3C-2972-46AF-8532-23FF8BFCE7F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36000" rIns="72000" bIns="36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EAE89632-66FC-4DB5-B805-E09152B277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F7D9526-2868-42F4-8E5A-B48B51DA7AC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2253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51295168-1622-4F07-94DC-D4BC256B19AF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C2EC741C-4CA5-42A0-BCAF-FB6B71B569D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58C71A8B-8B9B-445A-BEF9-72BBDC9D0A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55B41DE-2000-4EF6-A463-0291B086E58A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8372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029195EE-51BA-49B0-B772-4AA61B3E701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E96935F-4F08-4963-B4BE-2533AD5F6009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1325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029195EE-51BA-49B0-B772-4AA61B3E701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E96935F-4F08-4963-B4BE-2533AD5F6009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4199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F8ED8EDB-7E74-4D7F-A4B7-50E734102E3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70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70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270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A6F250F-DB7E-4ABE-938C-6E0711CE89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D6312EB-3193-441A-A20F-2F06A88ADC4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5930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DDF2BA32-7135-40B3-A428-65D508FAD6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sz="1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tle bespoke: add your own image with integrated key visual sails (see sample slides)</a:t>
            </a:r>
            <a:br>
              <a:rPr lang="en-US" sz="11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9AE6F19-A243-4784-BBFC-D7A4850C04F3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5778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5BA840F-0D9B-4CE1-844C-1B6F35B97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15516" y="224644"/>
            <a:ext cx="8712000" cy="360099"/>
          </a:xfrm>
        </p:spPr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6B9182-0630-4F5B-A58F-05C5774AFAF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A9C36FD-7D7C-4465-BD43-869ACDB27DD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552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552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5516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552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9552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5516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9552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552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80012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004048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04048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680012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004048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004048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80012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004048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04048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17249422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5">
            <a:extLst>
              <a:ext uri="{FF2B5EF4-FFF2-40B4-BE49-F238E27FC236}">
                <a16:creationId xmlns:a16="http://schemas.microsoft.com/office/drawing/2014/main" id="{35D17073-DD74-4B07-93BF-B38CD333686E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7660502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3249770-7B73-44E6-9403-6C6C810A272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6005259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4">
            <a:extLst>
              <a:ext uri="{FF2B5EF4-FFF2-40B4-BE49-F238E27FC236}">
                <a16:creationId xmlns:a16="http://schemas.microsoft.com/office/drawing/2014/main" id="{23B4FBD9-D2EF-4357-87E1-AE33A1492F15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432048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824536 h 5868000"/>
              <a:gd name="connsiteX3" fmla="*/ 6516724 w 8712000"/>
              <a:gd name="connsiteY3" fmla="*/ 4824536 h 5868000"/>
              <a:gd name="connsiteX4" fmla="*/ 6516724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1795439 h 5868000"/>
              <a:gd name="connsiteX7" fmla="*/ 432048 w 8712000"/>
              <a:gd name="connsiteY7" fmla="*/ 1795439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432048" y="0"/>
                </a:moveTo>
                <a:lnTo>
                  <a:pt x="8712000" y="0"/>
                </a:lnTo>
                <a:lnTo>
                  <a:pt x="8712000" y="4824536"/>
                </a:lnTo>
                <a:lnTo>
                  <a:pt x="6516724" y="4824536"/>
                </a:lnTo>
                <a:lnTo>
                  <a:pt x="6516724" y="5868000"/>
                </a:lnTo>
                <a:lnTo>
                  <a:pt x="0" y="5868000"/>
                </a:lnTo>
                <a:lnTo>
                  <a:pt x="0" y="1795439"/>
                </a:lnTo>
                <a:lnTo>
                  <a:pt x="432048" y="1795439"/>
                </a:lnTo>
                <a:close/>
              </a:path>
            </a:pathLst>
          </a:custGeom>
          <a:solidFill>
            <a:srgbClr val="DAE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1736812"/>
            <a:ext cx="6840000" cy="360099"/>
          </a:xfrm>
        </p:spPr>
        <p:txBody>
          <a:bodyPr vert="horz" anchor="t"/>
          <a:lstStyle>
            <a:lvl1pPr>
              <a:defRPr sz="26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10811464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1990184-F1DF-4C7B-A5B2-CCEBC101E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95B0F28-BA9F-4CB5-88D0-94FD149AA0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43E75B16-C59A-4DB2-9C1D-DA7599F80D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8712000" cy="464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6783315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F38E2B6-7644-4F0C-8305-F14C8FD7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032A1F76-24E6-4836-86FF-E39EC472CF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E852FB8-4E1B-46B6-89AA-3FE5240353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0012" y="1448780"/>
            <a:ext cx="4248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1419365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B29E1A3-AF07-4C7D-84E1-17F8C9ED7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24C227-0D3B-41E2-8490-A021E6DA72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77808CA1-1186-4B56-8969-576F07DB85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1448780"/>
            <a:ext cx="2772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016012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F8ED8EDB-7E74-4D7F-A4B7-50E734102E3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70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70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270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A6F250F-DB7E-4ABE-938C-6E0711CE89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D6312EB-3193-441A-A20F-2F06A88ADC4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5127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15516" y="1304764"/>
            <a:ext cx="8712000" cy="4788000"/>
          </a:xfrm>
          <a:prstGeom prst="rect">
            <a:avLst/>
          </a:prstGeom>
          <a:solidFill>
            <a:srgbClr val="DAE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A45D926-7865-4917-8960-3ACF3CAB92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66399766-D2F4-4E6D-A2B7-EF7D9D7C16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09808948-2832-41BA-9680-40191DAA9CE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6498558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75E6DC5-BDCC-450B-B76F-34A5A6047D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62587DC-DFC9-4862-B49B-06E12896DEE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7A5DE667-969D-4674-BCB7-E81B36CF79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260"/>
            <a:ext cx="4248000" cy="4644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7345097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007585A-3CF3-4F70-A330-F260177F3E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B8FFC63-47CB-4E98-9D58-1F601275E0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1" name="Slide Number Placeholder 30">
            <a:extLst>
              <a:ext uri="{FF2B5EF4-FFF2-40B4-BE49-F238E27FC236}">
                <a16:creationId xmlns:a16="http://schemas.microsoft.com/office/drawing/2014/main" id="{6C391CB6-CB07-47FD-A0D6-44C1B7683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56176" y="1304764"/>
            <a:ext cx="2772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19334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82">
          <p15:clr>
            <a:srgbClr val="FBAE40"/>
          </p15:clr>
        </p15:guide>
        <p15:guide id="2" pos="2018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C5B7D1B-A3B0-4FFF-A637-80DCBACFA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C6671FD-8C01-4524-B045-36191C8CDCB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C246DF6-8D8B-4BCC-BD75-9141F229FB1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3573016"/>
            <a:ext cx="2772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3573016"/>
            <a:ext cx="2736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3573016"/>
            <a:ext cx="2772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203848" y="1304764"/>
            <a:ext cx="2736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5617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302303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81F54E4-B465-4AF2-8EB5-E3328BF2F3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D6CB37D-F6B1-4C3B-8786-6EE8CA79448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24D66E7-46C8-4DC5-9B4E-8EA53CE4A9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55431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517472E0-274A-4F7F-8122-10F757C129E9}"/>
              </a:ext>
            </a:extLst>
          </p:cNvPr>
          <p:cNvSpPr>
            <a:spLocks noChangeAspect="1"/>
          </p:cNvSpPr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24" name="Graphic 3">
            <a:extLst>
              <a:ext uri="{FF2B5EF4-FFF2-40B4-BE49-F238E27FC236}">
                <a16:creationId xmlns:a16="http://schemas.microsoft.com/office/drawing/2014/main" id="{98011643-CBD1-483A-8FA2-FD3A99A4D5F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845564" y="976748"/>
            <a:ext cx="5579356" cy="39195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0168"/>
            <a:ext cx="5688000" cy="444737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DC818FC-E3E1-45AA-ACFA-85EAC2BE6B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B84CF56-3AC3-4C68-BA38-3F6F2409CE5C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7716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D197ED49-D267-4B6D-916F-3D05F5F8FAD6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499B0A3C-2972-46AF-8532-23FF8BFCE7F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36000" rIns="72000" bIns="36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EAE89632-66FC-4DB5-B805-E09152B277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F7D9526-2868-42F4-8E5A-B48B51DA7AC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60358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51295168-1622-4F07-94DC-D4BC256B19AF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C2EC741C-4CA5-42A0-BCAF-FB6B71B569D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58C71A8B-8B9B-445A-BEF9-72BBDC9D0A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55B41DE-2000-4EF6-A463-0291B086E58A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92947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029195EE-51BA-49B0-B772-4AA61B3E701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E96935F-4F08-4963-B4BE-2533AD5F6009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28363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F8ED8EDB-7E74-4D7F-A4B7-50E734102E3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70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70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270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A6F250F-DB7E-4ABE-938C-6E0711CE89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D6312EB-3193-441A-A20F-2F06A88ADC4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5842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DDF2BA32-7135-40B3-A428-65D508FAD6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sz="1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tle bespoke: add your own image with integrated key visual sails (see sample slides)</a:t>
            </a:r>
            <a:br>
              <a:rPr lang="en-US" sz="11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9AE6F19-A243-4784-BBFC-D7A4850C04F3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302741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DDF2BA32-7135-40B3-A428-65D508FAD6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sz="1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tle bespoke: add your own image with integrated key visual sails (see sample slides)</a:t>
            </a:r>
            <a:br>
              <a:rPr lang="en-US" sz="11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9AE6F19-A243-4784-BBFC-D7A4850C04F3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3243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5BA840F-0D9B-4CE1-844C-1B6F35B97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15516" y="224644"/>
            <a:ext cx="8712000" cy="360099"/>
          </a:xfrm>
        </p:spPr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6B9182-0630-4F5B-A58F-05C5774AFAF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A9C36FD-7D7C-4465-BD43-869ACDB27DD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552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552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5516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552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9552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5516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9552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552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80012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004048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04048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680012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004048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004048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80012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004048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04048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26698822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5">
            <a:extLst>
              <a:ext uri="{FF2B5EF4-FFF2-40B4-BE49-F238E27FC236}">
                <a16:creationId xmlns:a16="http://schemas.microsoft.com/office/drawing/2014/main" id="{35D17073-DD74-4B07-93BF-B38CD333686E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E5D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91214894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3249770-7B73-44E6-9403-6C6C810A272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36305206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4">
            <a:extLst>
              <a:ext uri="{FF2B5EF4-FFF2-40B4-BE49-F238E27FC236}">
                <a16:creationId xmlns:a16="http://schemas.microsoft.com/office/drawing/2014/main" id="{23B4FBD9-D2EF-4357-87E1-AE33A1492F15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432048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824536 h 5868000"/>
              <a:gd name="connsiteX3" fmla="*/ 6516724 w 8712000"/>
              <a:gd name="connsiteY3" fmla="*/ 4824536 h 5868000"/>
              <a:gd name="connsiteX4" fmla="*/ 6516724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1795439 h 5868000"/>
              <a:gd name="connsiteX7" fmla="*/ 432048 w 8712000"/>
              <a:gd name="connsiteY7" fmla="*/ 1795439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432048" y="0"/>
                </a:moveTo>
                <a:lnTo>
                  <a:pt x="8712000" y="0"/>
                </a:lnTo>
                <a:lnTo>
                  <a:pt x="8712000" y="4824536"/>
                </a:lnTo>
                <a:lnTo>
                  <a:pt x="6516724" y="4824536"/>
                </a:lnTo>
                <a:lnTo>
                  <a:pt x="6516724" y="5868000"/>
                </a:lnTo>
                <a:lnTo>
                  <a:pt x="0" y="5868000"/>
                </a:lnTo>
                <a:lnTo>
                  <a:pt x="0" y="1795439"/>
                </a:lnTo>
                <a:lnTo>
                  <a:pt x="432048" y="1795439"/>
                </a:lnTo>
                <a:close/>
              </a:path>
            </a:pathLst>
          </a:custGeom>
          <a:solidFill>
            <a:srgbClr val="EDE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1736812"/>
            <a:ext cx="6840000" cy="360099"/>
          </a:xfrm>
        </p:spPr>
        <p:txBody>
          <a:bodyPr vert="horz" anchor="t"/>
          <a:lstStyle>
            <a:lvl1pPr>
              <a:defRPr sz="26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417915852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1990184-F1DF-4C7B-A5B2-CCEBC101E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95B0F28-BA9F-4CB5-88D0-94FD149AA0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43E75B16-C59A-4DB2-9C1D-DA7599F80D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8712000" cy="464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48087881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F38E2B6-7644-4F0C-8305-F14C8FD7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032A1F76-24E6-4836-86FF-E39EC472CF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E852FB8-4E1B-46B6-89AA-3FE5240353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0012" y="1448780"/>
            <a:ext cx="4248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4372693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B29E1A3-AF07-4C7D-84E1-17F8C9ED7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24C227-0D3B-41E2-8490-A021E6DA72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77808CA1-1186-4B56-8969-576F07DB85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1448780"/>
            <a:ext cx="2772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654480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15516" y="1304764"/>
            <a:ext cx="8712000" cy="4788000"/>
          </a:xfrm>
          <a:prstGeom prst="rect">
            <a:avLst/>
          </a:prstGeom>
          <a:solidFill>
            <a:srgbClr val="EDE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A45D926-7865-4917-8960-3ACF3CAB92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66399766-D2F4-4E6D-A2B7-EF7D9D7C16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09808948-2832-41BA-9680-40191DAA9CE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5995627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75E6DC5-BDCC-450B-B76F-34A5A6047D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62587DC-DFC9-4862-B49B-06E12896DEE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7A5DE667-969D-4674-BCB7-E81B36CF79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260"/>
            <a:ext cx="4248000" cy="4644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997772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5BA840F-0D9B-4CE1-844C-1B6F35B97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15516" y="224644"/>
            <a:ext cx="8712000" cy="360099"/>
          </a:xfrm>
        </p:spPr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6B9182-0630-4F5B-A58F-05C5774AFAF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A9C36FD-7D7C-4465-BD43-869ACDB27DD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552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552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5516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552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9552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5516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9552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552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80012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004048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04048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680012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004048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004048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80012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004048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04048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14882235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007585A-3CF3-4F70-A330-F260177F3E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B8FFC63-47CB-4E98-9D58-1F601275E0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1" name="Slide Number Placeholder 30">
            <a:extLst>
              <a:ext uri="{FF2B5EF4-FFF2-40B4-BE49-F238E27FC236}">
                <a16:creationId xmlns:a16="http://schemas.microsoft.com/office/drawing/2014/main" id="{6C391CB6-CB07-47FD-A0D6-44C1B7683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56176" y="1304764"/>
            <a:ext cx="2772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089537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82">
          <p15:clr>
            <a:srgbClr val="FBAE40"/>
          </p15:clr>
        </p15:guide>
        <p15:guide id="2" pos="2018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C5B7D1B-A3B0-4FFF-A637-80DCBACFA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C6671FD-8C01-4524-B045-36191C8CDCB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C246DF6-8D8B-4BCC-BD75-9141F229FB1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3573016"/>
            <a:ext cx="2772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3573016"/>
            <a:ext cx="2736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3573016"/>
            <a:ext cx="2772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203848" y="1304764"/>
            <a:ext cx="2736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5617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986756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81F54E4-B465-4AF2-8EB5-E3328BF2F3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D6CB37D-F6B1-4C3B-8786-6EE8CA79448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24D66E7-46C8-4DC5-9B4E-8EA53CE4A9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78272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517472E0-274A-4F7F-8122-10F757C129E9}"/>
              </a:ext>
            </a:extLst>
          </p:cNvPr>
          <p:cNvSpPr>
            <a:spLocks noChangeAspect="1"/>
          </p:cNvSpPr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24" name="Graphic 3">
            <a:extLst>
              <a:ext uri="{FF2B5EF4-FFF2-40B4-BE49-F238E27FC236}">
                <a16:creationId xmlns:a16="http://schemas.microsoft.com/office/drawing/2014/main" id="{98011643-CBD1-483A-8FA2-FD3A99A4D5F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845564" y="976748"/>
            <a:ext cx="5579356" cy="39195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0168"/>
            <a:ext cx="5688000" cy="444737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DC818FC-E3E1-45AA-ACFA-85EAC2BE6B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B84CF56-3AC3-4C68-BA38-3F6F2409CE5C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13784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D197ED49-D267-4B6D-916F-3D05F5F8FAD6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499B0A3C-2972-46AF-8532-23FF8BFCE7F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36000" rIns="72000" bIns="36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EAE89632-66FC-4DB5-B805-E09152B277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F7D9526-2868-42F4-8E5A-B48B51DA7AC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08721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51295168-1622-4F07-94DC-D4BC256B19AF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C2EC741C-4CA5-42A0-BCAF-FB6B71B569D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58C71A8B-8B9B-445A-BEF9-72BBDC9D0A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55B41DE-2000-4EF6-A463-0291B086E58A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87036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029195EE-51BA-49B0-B772-4AA61B3E701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E96935F-4F08-4963-B4BE-2533AD5F6009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76076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F8ED8EDB-7E74-4D7F-A4B7-50E734102E3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70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70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270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A6F250F-DB7E-4ABE-938C-6E0711CE89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D6312EB-3193-441A-A20F-2F06A88ADC4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27358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DDF2BA32-7135-40B3-A428-65D508FAD6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sz="1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tle bespoke: add your own image with integrated key visual sails (see sample slides)</a:t>
            </a:r>
            <a:br>
              <a:rPr lang="en-US" sz="11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9AE6F19-A243-4784-BBFC-D7A4850C04F3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16892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5BA840F-0D9B-4CE1-844C-1B6F35B97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15516" y="224644"/>
            <a:ext cx="8712000" cy="360099"/>
          </a:xfrm>
        </p:spPr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6B9182-0630-4F5B-A58F-05C5774AFAF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A9C36FD-7D7C-4465-BD43-869ACDB27DD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552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552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5516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552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9552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5516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9552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552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80012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004048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04048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680012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004048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004048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80012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004048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04048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33256888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5">
            <a:extLst>
              <a:ext uri="{FF2B5EF4-FFF2-40B4-BE49-F238E27FC236}">
                <a16:creationId xmlns:a16="http://schemas.microsoft.com/office/drawing/2014/main" id="{35D17073-DD74-4B07-93BF-B38CD333686E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A7BB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40140473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5">
            <a:extLst>
              <a:ext uri="{FF2B5EF4-FFF2-40B4-BE49-F238E27FC236}">
                <a16:creationId xmlns:a16="http://schemas.microsoft.com/office/drawing/2014/main" id="{35D17073-DD74-4B07-93BF-B38CD333686E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E6BD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29013788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3249770-7B73-44E6-9403-6C6C810A272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57704482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4">
            <a:extLst>
              <a:ext uri="{FF2B5EF4-FFF2-40B4-BE49-F238E27FC236}">
                <a16:creationId xmlns:a16="http://schemas.microsoft.com/office/drawing/2014/main" id="{23B4FBD9-D2EF-4357-87E1-AE33A1492F15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432048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824536 h 5868000"/>
              <a:gd name="connsiteX3" fmla="*/ 6516724 w 8712000"/>
              <a:gd name="connsiteY3" fmla="*/ 4824536 h 5868000"/>
              <a:gd name="connsiteX4" fmla="*/ 6516724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1795439 h 5868000"/>
              <a:gd name="connsiteX7" fmla="*/ 432048 w 8712000"/>
              <a:gd name="connsiteY7" fmla="*/ 1795439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432048" y="0"/>
                </a:moveTo>
                <a:lnTo>
                  <a:pt x="8712000" y="0"/>
                </a:lnTo>
                <a:lnTo>
                  <a:pt x="8712000" y="4824536"/>
                </a:lnTo>
                <a:lnTo>
                  <a:pt x="6516724" y="4824536"/>
                </a:lnTo>
                <a:lnTo>
                  <a:pt x="6516724" y="5868000"/>
                </a:lnTo>
                <a:lnTo>
                  <a:pt x="0" y="5868000"/>
                </a:lnTo>
                <a:lnTo>
                  <a:pt x="0" y="1795439"/>
                </a:lnTo>
                <a:lnTo>
                  <a:pt x="432048" y="1795439"/>
                </a:lnTo>
                <a:close/>
              </a:path>
            </a:pathLst>
          </a:custGeom>
          <a:solidFill>
            <a:srgbClr val="F3DF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1736812"/>
            <a:ext cx="6840000" cy="360099"/>
          </a:xfrm>
        </p:spPr>
        <p:txBody>
          <a:bodyPr vert="horz" anchor="t"/>
          <a:lstStyle>
            <a:lvl1pPr>
              <a:defRPr sz="26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5188333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1990184-F1DF-4C7B-A5B2-CCEBC101E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95B0F28-BA9F-4CB5-88D0-94FD149AA0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43E75B16-C59A-4DB2-9C1D-DA7599F80D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8712000" cy="464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402881590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F38E2B6-7644-4F0C-8305-F14C8FD7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032A1F76-24E6-4836-86FF-E39EC472CF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E852FB8-4E1B-46B6-89AA-3FE5240353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0012" y="1448780"/>
            <a:ext cx="4248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33582344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B29E1A3-AF07-4C7D-84E1-17F8C9ED7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24C227-0D3B-41E2-8490-A021E6DA72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77808CA1-1186-4B56-8969-576F07DB85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1448780"/>
            <a:ext cx="2772000" cy="464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4252353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15516" y="1304764"/>
            <a:ext cx="8712000" cy="4788000"/>
          </a:xfrm>
          <a:prstGeom prst="rect">
            <a:avLst/>
          </a:prstGeom>
          <a:solidFill>
            <a:srgbClr val="F3DF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A45D926-7865-4917-8960-3ACF3CAB92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66399766-D2F4-4E6D-A2B7-EF7D9D7C16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09808948-2832-41BA-9680-40191DAA9CE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64546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75E6DC5-BDCC-450B-B76F-34A5A6047D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62587DC-DFC9-4862-B49B-06E12896DEE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7A5DE667-969D-4674-BCB7-E81B36CF79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260"/>
            <a:ext cx="4248000" cy="4644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591513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007585A-3CF3-4F70-A330-F260177F3E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B8FFC63-47CB-4E98-9D58-1F601275E0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1" name="Slide Number Placeholder 30">
            <a:extLst>
              <a:ext uri="{FF2B5EF4-FFF2-40B4-BE49-F238E27FC236}">
                <a16:creationId xmlns:a16="http://schemas.microsoft.com/office/drawing/2014/main" id="{6C391CB6-CB07-47FD-A0D6-44C1B7683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56176" y="1304764"/>
            <a:ext cx="2772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791981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82">
          <p15:clr>
            <a:srgbClr val="FBAE40"/>
          </p15:clr>
        </p15:guide>
        <p15:guide id="2" pos="2018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C5B7D1B-A3B0-4FFF-A637-80DCBACFA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C6671FD-8C01-4524-B045-36191C8CDCB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C246DF6-8D8B-4BCC-BD75-9141F229FB1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3573016"/>
            <a:ext cx="2772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3573016"/>
            <a:ext cx="2736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3573016"/>
            <a:ext cx="2772000" cy="2520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203848" y="1304764"/>
            <a:ext cx="2736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5617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60633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3249770-7B73-44E6-9403-6C6C810A272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76713753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81F54E4-B465-4AF2-8EB5-E3328BF2F3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D6CB37D-F6B1-4C3B-8786-6EE8CA79448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24D66E7-46C8-4DC5-9B4E-8EA53CE4A9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73663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517472E0-274A-4F7F-8122-10F757C129E9}"/>
              </a:ext>
            </a:extLst>
          </p:cNvPr>
          <p:cNvSpPr>
            <a:spLocks noChangeAspect="1"/>
          </p:cNvSpPr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24" name="Graphic 3">
            <a:extLst>
              <a:ext uri="{FF2B5EF4-FFF2-40B4-BE49-F238E27FC236}">
                <a16:creationId xmlns:a16="http://schemas.microsoft.com/office/drawing/2014/main" id="{98011643-CBD1-483A-8FA2-FD3A99A4D5F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845564" y="976748"/>
            <a:ext cx="5579356" cy="39195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0168"/>
            <a:ext cx="5688000" cy="444737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DC818FC-E3E1-45AA-ACFA-85EAC2BE6B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B84CF56-3AC3-4C68-BA38-3F6F2409CE5C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39235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D197ED49-D267-4B6D-916F-3D05F5F8FAD6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499B0A3C-2972-46AF-8532-23FF8BFCE7F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36000" rIns="72000" bIns="36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EAE89632-66FC-4DB5-B805-E09152B277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F7D9526-2868-42F4-8E5A-B48B51DA7AC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45100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51295168-1622-4F07-94DC-D4BC256B19AF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C2EC741C-4CA5-42A0-BCAF-FB6B71B569D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58C71A8B-8B9B-445A-BEF9-72BBDC9D0A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55B41DE-2000-4EF6-A463-0291B086E58A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22948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029195EE-51BA-49B0-B772-4AA61B3E701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E96935F-4F08-4963-B4BE-2533AD5F6009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10437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F8ED8EDB-7E74-4D7F-A4B7-50E734102E3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70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70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270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A6F250F-DB7E-4ABE-938C-6E0711CE89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D6312EB-3193-441A-A20F-2F06A88ADC4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4305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DDF2BA32-7135-40B3-A428-65D508FAD6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sz="1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tle bespoke: add your own image with integrated key visual sails (see sample slides)</a:t>
            </a:r>
            <a:br>
              <a:rPr lang="en-US" sz="11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9AE6F19-A243-4784-BBFC-D7A4850C04F3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63214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5BA840F-0D9B-4CE1-844C-1B6F35B97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15516" y="224644"/>
            <a:ext cx="8712000" cy="360099"/>
          </a:xfrm>
        </p:spPr>
        <p:txBody>
          <a:bodyPr/>
          <a:lstStyle/>
          <a:p>
            <a:r>
              <a:rPr lang="en-US" noProof="0" dirty="0"/>
              <a:t>Click to edit slide title (maximum two lines)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6B9182-0630-4F5B-A58F-05C5774AFAF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A9C36FD-7D7C-4465-BD43-869ACDB27DD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552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552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5516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552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9552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5516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9552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552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80012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004048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04048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680012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004048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004048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80012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004048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04048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266630038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5">
            <a:extLst>
              <a:ext uri="{FF2B5EF4-FFF2-40B4-BE49-F238E27FC236}">
                <a16:creationId xmlns:a16="http://schemas.microsoft.com/office/drawing/2014/main" id="{35D17073-DD74-4B07-93BF-B38CD333686E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E3B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24727508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3249770-7B73-44E6-9403-6C6C810A272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3280896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6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8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100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15516" y="224644"/>
            <a:ext cx="8712000" cy="3600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15516" y="1448780"/>
            <a:ext cx="87120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39895" y="6505745"/>
            <a:ext cx="633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15515" y="6505745"/>
            <a:ext cx="288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939F2AA7-FD1A-45EC-9F6F-4C94DE35BF55}"/>
              </a:ext>
            </a:extLst>
          </p:cNvPr>
          <p:cNvSpPr/>
          <p:nvPr userDrawn="1"/>
        </p:nvSpPr>
        <p:spPr>
          <a:xfrm>
            <a:off x="7452100" y="6435742"/>
            <a:ext cx="1476000" cy="19761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284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88" r:id="rId3"/>
    <p:sldLayoutId id="2147483789" r:id="rId4"/>
    <p:sldLayoutId id="2147483773" r:id="rId5"/>
    <p:sldLayoutId id="2147483772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  <p:sldLayoutId id="2147483786" r:id="rId17"/>
    <p:sldLayoutId id="2147483787" r:id="rId1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6858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2" orient="horz" pos="3838">
          <p15:clr>
            <a:srgbClr val="F26B43"/>
          </p15:clr>
        </p15:guide>
        <p15:guide id="3" pos="136">
          <p15:clr>
            <a:srgbClr val="F26B43"/>
          </p15:clr>
        </p15:guide>
        <p15:guide id="4" pos="5624">
          <p15:clr>
            <a:srgbClr val="F26B43"/>
          </p15:clr>
        </p15:guide>
        <p15:guide id="5" pos="2948">
          <p15:clr>
            <a:srgbClr val="F26B43"/>
          </p15:clr>
        </p15:guide>
        <p15:guide id="6" pos="28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15516" y="224644"/>
            <a:ext cx="8712000" cy="3600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15516" y="1448780"/>
            <a:ext cx="87120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39895" y="6505745"/>
            <a:ext cx="633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15515" y="6505745"/>
            <a:ext cx="288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8506F164-EF5F-4434-A7BE-180CD6940E8E}"/>
              </a:ext>
            </a:extLst>
          </p:cNvPr>
          <p:cNvSpPr/>
          <p:nvPr userDrawn="1"/>
        </p:nvSpPr>
        <p:spPr>
          <a:xfrm>
            <a:off x="7452100" y="6435742"/>
            <a:ext cx="1476000" cy="19761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86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  <p:sldLayoutId id="2147483885" r:id="rId15"/>
    <p:sldLayoutId id="2147483886" r:id="rId16"/>
    <p:sldLayoutId id="2147483887" r:id="rId17"/>
    <p:sldLayoutId id="2147483888" r:id="rId1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6858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2" orient="horz" pos="3838">
          <p15:clr>
            <a:srgbClr val="F26B43"/>
          </p15:clr>
        </p15:guide>
        <p15:guide id="3" pos="136">
          <p15:clr>
            <a:srgbClr val="F26B43"/>
          </p15:clr>
        </p15:guide>
        <p15:guide id="4" pos="5624">
          <p15:clr>
            <a:srgbClr val="F26B43"/>
          </p15:clr>
        </p15:guide>
        <p15:guide id="5" pos="2948">
          <p15:clr>
            <a:srgbClr val="F26B43"/>
          </p15:clr>
        </p15:guide>
        <p15:guide id="6" pos="28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15516" y="224644"/>
            <a:ext cx="8712000" cy="3600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15516" y="1448780"/>
            <a:ext cx="87120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39895" y="6505745"/>
            <a:ext cx="633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15515" y="6505745"/>
            <a:ext cx="288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AAF0EFD-09D8-4C6E-B0CE-7E486C5D1097}"/>
              </a:ext>
            </a:extLst>
          </p:cNvPr>
          <p:cNvSpPr/>
          <p:nvPr userDrawn="1"/>
        </p:nvSpPr>
        <p:spPr>
          <a:xfrm>
            <a:off x="7452100" y="6435742"/>
            <a:ext cx="1476000" cy="19761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813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  <p:sldLayoutId id="2147483904" r:id="rId16"/>
    <p:sldLayoutId id="2147483905" r:id="rId17"/>
    <p:sldLayoutId id="2147483906" r:id="rId1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6858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2" orient="horz" pos="3838">
          <p15:clr>
            <a:srgbClr val="F26B43"/>
          </p15:clr>
        </p15:guide>
        <p15:guide id="3" pos="136">
          <p15:clr>
            <a:srgbClr val="F26B43"/>
          </p15:clr>
        </p15:guide>
        <p15:guide id="4" pos="5624">
          <p15:clr>
            <a:srgbClr val="F26B43"/>
          </p15:clr>
        </p15:guide>
        <p15:guide id="5" pos="2948">
          <p15:clr>
            <a:srgbClr val="F26B43"/>
          </p15:clr>
        </p15:guide>
        <p15:guide id="6" pos="28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15516" y="224644"/>
            <a:ext cx="8712000" cy="3600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15516" y="1448780"/>
            <a:ext cx="87120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39895" y="6505745"/>
            <a:ext cx="633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15515" y="6505745"/>
            <a:ext cx="288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B69DB4B-5797-4159-BDB2-86145276C174}"/>
              </a:ext>
            </a:extLst>
          </p:cNvPr>
          <p:cNvSpPr/>
          <p:nvPr userDrawn="1"/>
        </p:nvSpPr>
        <p:spPr>
          <a:xfrm>
            <a:off x="7452100" y="6435742"/>
            <a:ext cx="1476000" cy="19761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654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8" r:id="rId12"/>
    <p:sldLayoutId id="2147483919" r:id="rId13"/>
    <p:sldLayoutId id="2147483920" r:id="rId14"/>
    <p:sldLayoutId id="2147483921" r:id="rId15"/>
    <p:sldLayoutId id="2147483922" r:id="rId16"/>
    <p:sldLayoutId id="2147483923" r:id="rId17"/>
    <p:sldLayoutId id="2147483924" r:id="rId1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6858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2" orient="horz" pos="3838">
          <p15:clr>
            <a:srgbClr val="F26B43"/>
          </p15:clr>
        </p15:guide>
        <p15:guide id="3" pos="136">
          <p15:clr>
            <a:srgbClr val="F26B43"/>
          </p15:clr>
        </p15:guide>
        <p15:guide id="4" pos="5624">
          <p15:clr>
            <a:srgbClr val="F26B43"/>
          </p15:clr>
        </p15:guide>
        <p15:guide id="5" pos="2948">
          <p15:clr>
            <a:srgbClr val="F26B43"/>
          </p15:clr>
        </p15:guide>
        <p15:guide id="6" pos="28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15516" y="224644"/>
            <a:ext cx="8712000" cy="3600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15516" y="1448780"/>
            <a:ext cx="87120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39895" y="6505745"/>
            <a:ext cx="633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15515" y="6505745"/>
            <a:ext cx="288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590AEE83-AED2-474F-8468-7009D3A889C9}"/>
              </a:ext>
            </a:extLst>
          </p:cNvPr>
          <p:cNvSpPr/>
          <p:nvPr userDrawn="1"/>
        </p:nvSpPr>
        <p:spPr>
          <a:xfrm>
            <a:off x="7452100" y="6435742"/>
            <a:ext cx="1476000" cy="19761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404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  <p:sldLayoutId id="2147483938" r:id="rId14"/>
    <p:sldLayoutId id="2147483939" r:id="rId15"/>
    <p:sldLayoutId id="2147483940" r:id="rId16"/>
    <p:sldLayoutId id="2147483941" r:id="rId17"/>
    <p:sldLayoutId id="2147483942" r:id="rId1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6858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2" orient="horz" pos="3838">
          <p15:clr>
            <a:srgbClr val="F26B43"/>
          </p15:clr>
        </p15:guide>
        <p15:guide id="3" pos="136">
          <p15:clr>
            <a:srgbClr val="F26B43"/>
          </p15:clr>
        </p15:guide>
        <p15:guide id="4" pos="5624">
          <p15:clr>
            <a:srgbClr val="F26B43"/>
          </p15:clr>
        </p15:guide>
        <p15:guide id="5" pos="2948">
          <p15:clr>
            <a:srgbClr val="F26B43"/>
          </p15:clr>
        </p15:guide>
        <p15:guide id="6" pos="28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15516" y="224644"/>
            <a:ext cx="8712000" cy="3600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15516" y="1448780"/>
            <a:ext cx="87120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39895" y="6505745"/>
            <a:ext cx="633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15515" y="6505745"/>
            <a:ext cx="288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FF3D55D-A4E5-4BC5-8042-F09FE350FAB4}"/>
              </a:ext>
            </a:extLst>
          </p:cNvPr>
          <p:cNvSpPr/>
          <p:nvPr userDrawn="1"/>
        </p:nvSpPr>
        <p:spPr>
          <a:xfrm>
            <a:off x="7452100" y="6435742"/>
            <a:ext cx="1476000" cy="19761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29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56" r:id="rId14"/>
    <p:sldLayoutId id="2147483957" r:id="rId15"/>
    <p:sldLayoutId id="2147483958" r:id="rId16"/>
    <p:sldLayoutId id="2147483959" r:id="rId17"/>
    <p:sldLayoutId id="2147483960" r:id="rId1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6858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2" orient="horz" pos="3838">
          <p15:clr>
            <a:srgbClr val="F26B43"/>
          </p15:clr>
        </p15:guide>
        <p15:guide id="3" pos="136">
          <p15:clr>
            <a:srgbClr val="F26B43"/>
          </p15:clr>
        </p15:guide>
        <p15:guide id="4" pos="5624">
          <p15:clr>
            <a:srgbClr val="F26B43"/>
          </p15:clr>
        </p15:guide>
        <p15:guide id="5" pos="2948">
          <p15:clr>
            <a:srgbClr val="F26B43"/>
          </p15:clr>
        </p15:guide>
        <p15:guide id="6" pos="28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oleObject" Target="../embeddings/oleObject21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oleObject" Target="../embeddings/oleObject23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2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oleObject" Target="../embeddings/oleObject25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4.emf"/><Relationship Id="rId4" Type="http://schemas.openxmlformats.org/officeDocument/2006/relationships/oleObject" Target="../embeddings/oleObject2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7" Type="http://schemas.openxmlformats.org/officeDocument/2006/relationships/image" Target="../media/image37.emf"/><Relationship Id="rId2" Type="http://schemas.openxmlformats.org/officeDocument/2006/relationships/oleObject" Target="../embeddings/oleObject27.bin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36.emf"/><Relationship Id="rId4" Type="http://schemas.openxmlformats.org/officeDocument/2006/relationships/oleObject" Target="../embeddings/oleObject28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oleObject" Target="../embeddings/oleObject30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9.emf"/><Relationship Id="rId4" Type="http://schemas.openxmlformats.org/officeDocument/2006/relationships/oleObject" Target="../embeddings/oleObject3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oleObject" Target="../embeddings/oleObject32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1.emf"/><Relationship Id="rId4" Type="http://schemas.openxmlformats.org/officeDocument/2006/relationships/oleObject" Target="../embeddings/oleObject3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oleObject" Target="../embeddings/oleObject34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3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oleObject" Target="../embeddings/oleObject36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3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oleObject" Target="../embeddings/oleObject38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7.emf"/><Relationship Id="rId4" Type="http://schemas.openxmlformats.org/officeDocument/2006/relationships/oleObject" Target="../embeddings/oleObject3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oleObject" Target="../embeddings/oleObject40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9.emf"/><Relationship Id="rId4" Type="http://schemas.openxmlformats.org/officeDocument/2006/relationships/oleObject" Target="../embeddings/oleObject4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8.png"/><Relationship Id="rId7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oleObject" Target="../embeddings/oleObject42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1.emf"/><Relationship Id="rId4" Type="http://schemas.openxmlformats.org/officeDocument/2006/relationships/oleObject" Target="../embeddings/oleObject4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oleObject" Target="../embeddings/oleObject44.bin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oleObject" Target="../embeddings/oleObject45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4.emf"/><Relationship Id="rId4" Type="http://schemas.openxmlformats.org/officeDocument/2006/relationships/oleObject" Target="../embeddings/oleObject46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emf"/><Relationship Id="rId2" Type="http://schemas.openxmlformats.org/officeDocument/2006/relationships/oleObject" Target="../embeddings/oleObject47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6.emf"/><Relationship Id="rId4" Type="http://schemas.openxmlformats.org/officeDocument/2006/relationships/oleObject" Target="../embeddings/oleObject48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oleObject" Target="../embeddings/oleObject49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8.emf"/><Relationship Id="rId4" Type="http://schemas.openxmlformats.org/officeDocument/2006/relationships/oleObject" Target="../embeddings/oleObject50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emf"/><Relationship Id="rId2" Type="http://schemas.openxmlformats.org/officeDocument/2006/relationships/oleObject" Target="../embeddings/oleObject51.bin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7" Type="http://schemas.openxmlformats.org/officeDocument/2006/relationships/image" Target="../media/image62.emf"/><Relationship Id="rId2" Type="http://schemas.openxmlformats.org/officeDocument/2006/relationships/oleObject" Target="../embeddings/oleObject52.bin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54.bin"/><Relationship Id="rId5" Type="http://schemas.openxmlformats.org/officeDocument/2006/relationships/image" Target="../media/image61.emf"/><Relationship Id="rId4" Type="http://schemas.openxmlformats.org/officeDocument/2006/relationships/oleObject" Target="../embeddings/oleObject53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emf"/><Relationship Id="rId2" Type="http://schemas.openxmlformats.org/officeDocument/2006/relationships/oleObject" Target="../embeddings/oleObject55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64.emf"/><Relationship Id="rId4" Type="http://schemas.openxmlformats.org/officeDocument/2006/relationships/oleObject" Target="../embeddings/oleObject56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oleObject" Target="../embeddings/oleObject57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66.emf"/><Relationship Id="rId4" Type="http://schemas.openxmlformats.org/officeDocument/2006/relationships/oleObject" Target="../embeddings/oleObject58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emf"/><Relationship Id="rId2" Type="http://schemas.openxmlformats.org/officeDocument/2006/relationships/oleObject" Target="../embeddings/oleObject59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68.emf"/><Relationship Id="rId4" Type="http://schemas.openxmlformats.org/officeDocument/2006/relationships/oleObject" Target="../embeddings/oleObject60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emf"/><Relationship Id="rId2" Type="http://schemas.openxmlformats.org/officeDocument/2006/relationships/oleObject" Target="../embeddings/oleObject61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70.emf"/><Relationship Id="rId4" Type="http://schemas.openxmlformats.org/officeDocument/2006/relationships/oleObject" Target="../embeddings/oleObject62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7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oleObject" Target="../embeddings/oleObject64.bin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oleObject" Target="../embeddings/oleObject65.bin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oleObject" Target="../embeddings/oleObject66.bin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oleObject" Target="../embeddings/oleObject67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76.emf"/><Relationship Id="rId4" Type="http://schemas.openxmlformats.org/officeDocument/2006/relationships/oleObject" Target="../embeddings/oleObject68.bin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13" Type="http://schemas.openxmlformats.org/officeDocument/2006/relationships/image" Target="../media/image82.emf"/><Relationship Id="rId3" Type="http://schemas.openxmlformats.org/officeDocument/2006/relationships/image" Target="../media/image77.emf"/><Relationship Id="rId7" Type="http://schemas.openxmlformats.org/officeDocument/2006/relationships/image" Target="../media/image79.emf"/><Relationship Id="rId12" Type="http://schemas.openxmlformats.org/officeDocument/2006/relationships/oleObject" Target="../embeddings/oleObject74.bin"/><Relationship Id="rId2" Type="http://schemas.openxmlformats.org/officeDocument/2006/relationships/oleObject" Target="../embeddings/oleObject69.bin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71.bin"/><Relationship Id="rId11" Type="http://schemas.openxmlformats.org/officeDocument/2006/relationships/image" Target="../media/image81.emf"/><Relationship Id="rId5" Type="http://schemas.openxmlformats.org/officeDocument/2006/relationships/image" Target="../media/image78.emf"/><Relationship Id="rId10" Type="http://schemas.openxmlformats.org/officeDocument/2006/relationships/oleObject" Target="../embeddings/oleObject73.bin"/><Relationship Id="rId4" Type="http://schemas.openxmlformats.org/officeDocument/2006/relationships/oleObject" Target="../embeddings/oleObject70.bin"/><Relationship Id="rId9" Type="http://schemas.openxmlformats.org/officeDocument/2006/relationships/image" Target="../media/image80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emf"/><Relationship Id="rId2" Type="http://schemas.openxmlformats.org/officeDocument/2006/relationships/oleObject" Target="../embeddings/oleObject75.bin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emf"/><Relationship Id="rId2" Type="http://schemas.openxmlformats.org/officeDocument/2006/relationships/oleObject" Target="../embeddings/oleObject76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85.emf"/><Relationship Id="rId4" Type="http://schemas.openxmlformats.org/officeDocument/2006/relationships/oleObject" Target="../embeddings/oleObject77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2" Type="http://schemas.openxmlformats.org/officeDocument/2006/relationships/oleObject" Target="../embeddings/oleObject78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87.emf"/><Relationship Id="rId4" Type="http://schemas.openxmlformats.org/officeDocument/2006/relationships/oleObject" Target="../embeddings/oleObject7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oleObject" Target="../embeddings/oleObject4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emf"/><Relationship Id="rId3" Type="http://schemas.openxmlformats.org/officeDocument/2006/relationships/oleObject" Target="../embeddings/oleObject80.bin"/><Relationship Id="rId7" Type="http://schemas.openxmlformats.org/officeDocument/2006/relationships/oleObject" Target="../embeddings/oleObject82.bin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89.emf"/><Relationship Id="rId5" Type="http://schemas.openxmlformats.org/officeDocument/2006/relationships/oleObject" Target="../embeddings/oleObject81.bin"/><Relationship Id="rId10" Type="http://schemas.openxmlformats.org/officeDocument/2006/relationships/image" Target="../media/image91.emf"/><Relationship Id="rId4" Type="http://schemas.openxmlformats.org/officeDocument/2006/relationships/image" Target="../media/image88.emf"/><Relationship Id="rId9" Type="http://schemas.openxmlformats.org/officeDocument/2006/relationships/oleObject" Target="../embeddings/oleObject8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oleObject" Target="../embeddings/oleObject6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oleObject" Target="../embeddings/oleObject8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13" Type="http://schemas.openxmlformats.org/officeDocument/2006/relationships/image" Target="../media/image23.emf"/><Relationship Id="rId3" Type="http://schemas.openxmlformats.org/officeDocument/2006/relationships/image" Target="../media/image18.emf"/><Relationship Id="rId7" Type="http://schemas.openxmlformats.org/officeDocument/2006/relationships/image" Target="../media/image20.emf"/><Relationship Id="rId12" Type="http://schemas.openxmlformats.org/officeDocument/2006/relationships/oleObject" Target="../embeddings/oleObject15.bin"/><Relationship Id="rId2" Type="http://schemas.openxmlformats.org/officeDocument/2006/relationships/oleObject" Target="../embeddings/oleObject10.bin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22.emf"/><Relationship Id="rId5" Type="http://schemas.openxmlformats.org/officeDocument/2006/relationships/image" Target="../media/image19.emf"/><Relationship Id="rId10" Type="http://schemas.openxmlformats.org/officeDocument/2006/relationships/oleObject" Target="../embeddings/oleObject14.bin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oleObject" Target="../embeddings/oleObject16.bin"/><Relationship Id="rId7" Type="http://schemas.openxmlformats.org/officeDocument/2006/relationships/oleObject" Target="../embeddings/oleObject18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27.emf"/><Relationship Id="rId4" Type="http://schemas.openxmlformats.org/officeDocument/2006/relationships/image" Target="../media/image24.emf"/><Relationship Id="rId9" Type="http://schemas.openxmlformats.org/officeDocument/2006/relationships/oleObject" Target="../embeddings/oleObject1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oleObject" Target="../embeddings/oleObject20.bin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8FDAB-67C0-477D-9EEA-4F13C5951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588" y="2120168"/>
            <a:ext cx="5688000" cy="444737"/>
          </a:xfrm>
        </p:spPr>
        <p:txBody>
          <a:bodyPr/>
          <a:lstStyle/>
          <a:p>
            <a:r>
              <a:rPr lang="de-DE" dirty="0"/>
              <a:t>TAA Group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B406FA-7618-429A-B8E0-7FF201F0BB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3588" y="2564905"/>
            <a:ext cx="5688000" cy="392415"/>
          </a:xfrm>
        </p:spPr>
        <p:txBody>
          <a:bodyPr/>
          <a:lstStyle/>
          <a:p>
            <a:r>
              <a:rPr lang="en-US" dirty="0" err="1"/>
              <a:t>Chartpackage</a:t>
            </a:r>
            <a:r>
              <a:rPr lang="en-US" dirty="0"/>
              <a:t> </a:t>
            </a:r>
            <a:r>
              <a:rPr lang="en-US" dirty="0">
                <a:solidFill>
                  <a:srgbClr val="00B050"/>
                </a:solidFill>
              </a:rPr>
              <a:t>Macr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171A31-F64B-4FDA-B75D-D7E690871B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PENSIONSKASSE DER CREDIT SUISSE GROUP (SCHWEIZ)</a:t>
            </a:r>
          </a:p>
          <a:p>
            <a:r>
              <a:rPr lang="de-CH" dirty="0"/>
              <a:t>Investment Management</a:t>
            </a:r>
          </a:p>
          <a:p>
            <a:r>
              <a:rPr lang="de-CH" dirty="0"/>
              <a:t>18.06.2025</a:t>
            </a:r>
          </a:p>
          <a:p>
            <a:endParaRPr lang="de-CH" dirty="0"/>
          </a:p>
          <a:p>
            <a:r>
              <a:rPr lang="de-CH" b="1" dirty="0"/>
              <a:t>Intern</a:t>
            </a:r>
          </a:p>
        </p:txBody>
      </p:sp>
    </p:spTree>
    <p:extLst>
      <p:ext uri="{BB962C8B-B14F-4D97-AF65-F5344CB8AC3E}">
        <p14:creationId xmlns:p14="http://schemas.microsoft.com/office/powerpoint/2010/main" val="18893152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B29038-1782-4F13-BC16-5596AC54E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23EDCD-2C70-4D73-B355-031B72F41A7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CC8FA6-FC65-4E64-8761-680BB60142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A95836-699D-4FF4-A766-50AF21EB08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eading Indicators: PM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33A26F6-A01D-434E-A931-4913C54877E5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 err="1"/>
              <a:t>Leading</a:t>
            </a:r>
            <a:r>
              <a:rPr lang="de-CH" sz="1400" dirty="0"/>
              <a:t> </a:t>
            </a:r>
            <a:r>
              <a:rPr lang="de-CH" sz="1400" dirty="0" err="1"/>
              <a:t>Indicators</a:t>
            </a:r>
            <a:endParaRPr lang="de-CH" sz="1400" dirty="0"/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F85233B3-654F-42AC-907F-68AD3CB5201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60523889"/>
              </p:ext>
            </p:extLst>
          </p:nvPr>
        </p:nvGraphicFramePr>
        <p:xfrm>
          <a:off x="111125" y="1566863"/>
          <a:ext cx="4316413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F85233B3-654F-42AC-907F-68AD3CB520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1125" y="1566863"/>
                        <a:ext cx="4316413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9579416E-9648-494B-9D4A-1B8E9F67DA1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02332341"/>
              </p:ext>
            </p:extLst>
          </p:nvPr>
        </p:nvGraphicFramePr>
        <p:xfrm>
          <a:off x="4716463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9579416E-9648-494B-9D4A-1B8E9F67DA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16463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2A5D1BBC-2566-4020-B394-C3E15C9FD274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17953532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B29038-1782-4F13-BC16-5596AC54E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23EDCD-2C70-4D73-B355-031B72F41A7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CC8FA6-FC65-4E64-8761-680BB60142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A95836-699D-4FF4-A766-50AF21EB08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eading Indicators: Inventor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33A26F6-A01D-434E-A931-4913C54877E5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 err="1"/>
              <a:t>Leading</a:t>
            </a:r>
            <a:r>
              <a:rPr lang="de-CH" sz="1400" dirty="0"/>
              <a:t> </a:t>
            </a:r>
            <a:r>
              <a:rPr lang="de-CH" sz="1400" dirty="0" err="1"/>
              <a:t>Indicators</a:t>
            </a:r>
            <a:endParaRPr lang="de-CH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4BF432-E10D-4792-B45D-0974D1A347EC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696C89B1-B973-ABE5-EEC3-3AFE7FC4AC7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6594201"/>
              </p:ext>
            </p:extLst>
          </p:nvPr>
        </p:nvGraphicFramePr>
        <p:xfrm>
          <a:off x="117475" y="1566863"/>
          <a:ext cx="4316413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696C89B1-B973-ABE5-EEC3-3AFE7FC4A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7475" y="1566863"/>
                        <a:ext cx="4316413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BD908630-CFED-8A5E-2414-BDC508E6AD4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0901386"/>
              </p:ext>
            </p:extLst>
          </p:nvPr>
        </p:nvGraphicFramePr>
        <p:xfrm>
          <a:off x="4710113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BD908630-CFED-8A5E-2414-BDC508E6AD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10113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11540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B29038-1782-4F13-BC16-5596AC54E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23EDCD-2C70-4D73-B355-031B72F41A7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CC8FA6-FC65-4E64-8761-680BB60142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A95836-699D-4FF4-A766-50AF21EB08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eading Indicators: Shipping</a:t>
            </a:r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6DE8BBAE-1AB5-4BEE-A6B9-0C05FDC92F3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62861003"/>
              </p:ext>
            </p:extLst>
          </p:nvPr>
        </p:nvGraphicFramePr>
        <p:xfrm>
          <a:off x="111125" y="1566863"/>
          <a:ext cx="4316413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6DE8BBAE-1AB5-4BEE-A6B9-0C05FDC92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1125" y="1566863"/>
                        <a:ext cx="4316413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BCDE2368-C511-471E-8EE9-EA5AD0DFF0E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45579931"/>
              </p:ext>
            </p:extLst>
          </p:nvPr>
        </p:nvGraphicFramePr>
        <p:xfrm>
          <a:off x="4716463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BCDE2368-C511-471E-8EE9-EA5AD0DFF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16463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14BF432-E10D-4792-B45D-0974D1A347EC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33A26F6-A01D-434E-A931-4913C54877E5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 err="1"/>
              <a:t>Leading</a:t>
            </a:r>
            <a:r>
              <a:rPr lang="de-CH" sz="1400" dirty="0"/>
              <a:t> </a:t>
            </a:r>
            <a:r>
              <a:rPr lang="de-CH" sz="1400" dirty="0" err="1"/>
              <a:t>Indicators</a:t>
            </a:r>
            <a:endParaRPr lang="de-CH" sz="1400" dirty="0"/>
          </a:p>
        </p:txBody>
      </p:sp>
    </p:spTree>
    <p:extLst>
      <p:ext uri="{BB962C8B-B14F-4D97-AF65-F5344CB8AC3E}">
        <p14:creationId xmlns:p14="http://schemas.microsoft.com/office/powerpoint/2010/main" val="29569926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B29038-1782-4F13-BC16-5596AC54E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23EDCD-2C70-4D73-B355-031B72F41A7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CC8FA6-FC65-4E64-8761-680BB60142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A95836-699D-4FF4-A766-50AF21EB08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eading Indicators: Surprise Indic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33A26F6-A01D-434E-A931-4913C54877E5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 err="1"/>
              <a:t>Leading</a:t>
            </a:r>
            <a:r>
              <a:rPr lang="de-CH" sz="1400" dirty="0"/>
              <a:t> </a:t>
            </a:r>
            <a:r>
              <a:rPr lang="de-CH" sz="1400" dirty="0" err="1"/>
              <a:t>Indicators</a:t>
            </a:r>
            <a:endParaRPr lang="de-CH" sz="1400" dirty="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7E0D8DE2-2871-44BE-B3F1-0F5ABAA51CF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0164891"/>
              </p:ext>
            </p:extLst>
          </p:nvPr>
        </p:nvGraphicFramePr>
        <p:xfrm>
          <a:off x="101600" y="1566863"/>
          <a:ext cx="4318000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7E0D8DE2-2871-44BE-B3F1-0F5ABAA51C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01600" y="1566863"/>
                        <a:ext cx="4318000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24F9ED06-FAFC-4628-8EED-D884DC6E6F3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33380743"/>
              </p:ext>
            </p:extLst>
          </p:nvPr>
        </p:nvGraphicFramePr>
        <p:xfrm>
          <a:off x="4725988" y="1568450"/>
          <a:ext cx="4297362" cy="2108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541074" imgH="2718652" progId="Mbnd.mbnd">
                  <p:embed/>
                </p:oleObj>
              </mc:Choice>
              <mc:Fallback>
                <p:oleObj name="Macrobond document" r:id="rId4" imgW="5541074" imgH="2718652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24F9ED06-FAFC-4628-8EED-D884DC6E6F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25988" y="1568450"/>
                        <a:ext cx="4297362" cy="2108200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6BED892B-81D4-48E7-A80E-9B9BC95486B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71467312"/>
              </p:ext>
            </p:extLst>
          </p:nvPr>
        </p:nvGraphicFramePr>
        <p:xfrm>
          <a:off x="4724400" y="3741738"/>
          <a:ext cx="4297363" cy="2151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6" imgW="5427006" imgH="2718652" progId="Mbnd.mbnd">
                  <p:embed/>
                </p:oleObj>
              </mc:Choice>
              <mc:Fallback>
                <p:oleObj name="Macrobond document" r:id="rId6" imgW="5427006" imgH="2718652" progId="Mbnd.mbnd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6BED892B-81D4-48E7-A80E-9B9BC95486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724400" y="3741738"/>
                        <a:ext cx="4297363" cy="215106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E41A4224-FE2B-4068-B527-862CB25FC8E1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29581402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A8F913-ED2D-4671-B97E-80AEAC3346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5D972E-1A8C-4308-8F8B-33FEA146A4B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3AE742-8DF8-4613-A076-303BF88BC6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019152-28B8-4825-82AE-7142AD6D81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516" y="584743"/>
            <a:ext cx="8712000" cy="369332"/>
          </a:xfrm>
        </p:spPr>
        <p:txBody>
          <a:bodyPr/>
          <a:lstStyle/>
          <a:p>
            <a:r>
              <a:rPr lang="en-US" dirty="0"/>
              <a:t>Leading Indicators: Confidenc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B21B86-02A2-42AD-8F6A-8E7198A8230C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 err="1"/>
              <a:t>Leading</a:t>
            </a:r>
            <a:r>
              <a:rPr lang="de-CH" sz="1400" dirty="0"/>
              <a:t> </a:t>
            </a:r>
            <a:r>
              <a:rPr lang="de-CH" sz="1400" dirty="0" err="1"/>
              <a:t>Indicators</a:t>
            </a:r>
            <a:endParaRPr lang="de-CH" sz="1400" dirty="0"/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57915B76-9BC8-4712-8215-87EB9492084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63831857"/>
              </p:ext>
            </p:extLst>
          </p:nvPr>
        </p:nvGraphicFramePr>
        <p:xfrm>
          <a:off x="4716463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57915B76-9BC8-4712-8215-87EB949208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716463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693048C0-3014-4A4E-97C2-E4D97017301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61559708"/>
              </p:ext>
            </p:extLst>
          </p:nvPr>
        </p:nvGraphicFramePr>
        <p:xfrm>
          <a:off x="111125" y="1566863"/>
          <a:ext cx="4316413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693048C0-3014-4A4E-97C2-E4D9701730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125" y="1566863"/>
                        <a:ext cx="4316413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5FB169AA-FE10-4741-9116-CF0C6B893DAE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21145175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A8F913-ED2D-4671-B97E-80AEAC3346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5D972E-1A8C-4308-8F8B-33FEA146A4B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3AE742-8DF8-4613-A076-303BF88BC6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019152-28B8-4825-82AE-7142AD6D81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516" y="584743"/>
            <a:ext cx="8712000" cy="369332"/>
          </a:xfrm>
        </p:spPr>
        <p:txBody>
          <a:bodyPr/>
          <a:lstStyle/>
          <a:p>
            <a:r>
              <a:rPr lang="en-US" dirty="0"/>
              <a:t>Leading Indicators: </a:t>
            </a:r>
            <a:r>
              <a:rPr lang="en-US" dirty="0" err="1"/>
              <a:t>Sentix</a:t>
            </a:r>
            <a:r>
              <a:rPr lang="en-US" dirty="0"/>
              <a:t> Economic Index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B21B86-02A2-42AD-8F6A-8E7198A8230C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 err="1"/>
              <a:t>Leading</a:t>
            </a:r>
            <a:r>
              <a:rPr lang="de-CH" sz="1400" dirty="0"/>
              <a:t> </a:t>
            </a:r>
            <a:r>
              <a:rPr lang="de-CH" sz="1400" dirty="0" err="1"/>
              <a:t>Indicators</a:t>
            </a:r>
            <a:endParaRPr lang="de-CH" sz="1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FB169AA-FE10-4741-9116-CF0C6B893DAE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283290D4-DDA0-1977-1CDD-9B5672947F5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96102556"/>
              </p:ext>
            </p:extLst>
          </p:nvPr>
        </p:nvGraphicFramePr>
        <p:xfrm>
          <a:off x="109538" y="1566863"/>
          <a:ext cx="4316412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283290D4-DDA0-1977-1CDD-9B5672947F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09538" y="1566863"/>
                        <a:ext cx="4316412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D3E416B0-11B4-1FF9-F1F3-46C765F367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82226441"/>
              </p:ext>
            </p:extLst>
          </p:nvPr>
        </p:nvGraphicFramePr>
        <p:xfrm>
          <a:off x="4716463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D3E416B0-11B4-1FF9-F1F3-46C765F367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16463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885864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1F0976-2F1C-4E77-9035-A3C19C36D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9E95CF-F1DE-40A6-BF19-9E2A3937115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1B632-3B0A-48A3-AFFA-63E54314885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47E2E1-CDC7-480E-A2C3-3342E2AA66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Business Cycle: Ind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BB275E-09B5-4AEA-A554-8F9CDDF246A2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7168C96-DE3D-4C8B-BD3B-2BC2347E3AA6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Business Cycle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5E675E8A-EA07-4823-B9A2-656252D9221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21501176"/>
              </p:ext>
            </p:extLst>
          </p:nvPr>
        </p:nvGraphicFramePr>
        <p:xfrm>
          <a:off x="111125" y="1566863"/>
          <a:ext cx="4316413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5E675E8A-EA07-4823-B9A2-656252D92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1125" y="1566863"/>
                        <a:ext cx="4316413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8DAB0EBE-3532-42ED-8CD1-4BC2384225B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63940996"/>
              </p:ext>
            </p:extLst>
          </p:nvPr>
        </p:nvGraphicFramePr>
        <p:xfrm>
          <a:off x="4716463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8DAB0EBE-3532-42ED-8CD1-4BC238422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16463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448223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1F0976-2F1C-4E77-9035-A3C19C36D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9E95CF-F1DE-40A6-BF19-9E2A3937115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1B632-3B0A-48A3-AFFA-63E54314885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47E2E1-CDC7-480E-A2C3-3342E2AA66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Business Cycle: Equity/Bond, Credit Impul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BB275E-09B5-4AEA-A554-8F9CDDF246A2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7168C96-DE3D-4C8B-BD3B-2BC2347E3AA6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Business Cycle</a:t>
            </a: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05A3B538-7D79-4EC6-B88F-16C86A29322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43145010"/>
              </p:ext>
            </p:extLst>
          </p:nvPr>
        </p:nvGraphicFramePr>
        <p:xfrm>
          <a:off x="117475" y="1566863"/>
          <a:ext cx="4316413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05A3B538-7D79-4EC6-B88F-16C86A2932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7475" y="1566863"/>
                        <a:ext cx="4316413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15256E89-CDAF-4E00-8026-8F83811DBFC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88456734"/>
              </p:ext>
            </p:extLst>
          </p:nvPr>
        </p:nvGraphicFramePr>
        <p:xfrm>
          <a:off x="4706938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15256E89-CDAF-4E00-8026-8F83811DBF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06938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062578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1F0976-2F1C-4E77-9035-A3C19C36D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9E95CF-F1DE-40A6-BF19-9E2A3937115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1B632-3B0A-48A3-AFFA-63E54314885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47E2E1-CDC7-480E-A2C3-3342E2AA66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Business Cycle: Private Sector Deb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BB275E-09B5-4AEA-A554-8F9CDDF246A2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7168C96-DE3D-4C8B-BD3B-2BC2347E3AA6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Business Cycle</a:t>
            </a:r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4EBAC9F1-6583-1768-6520-1E570CEA861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66555319"/>
              </p:ext>
            </p:extLst>
          </p:nvPr>
        </p:nvGraphicFramePr>
        <p:xfrm>
          <a:off x="117475" y="1566863"/>
          <a:ext cx="4316413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4EBAC9F1-6583-1768-6520-1E570CEA86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7475" y="1566863"/>
                        <a:ext cx="4316413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1B56F748-4630-031E-DA83-0BB0BC14DE3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67352561"/>
              </p:ext>
            </p:extLst>
          </p:nvPr>
        </p:nvGraphicFramePr>
        <p:xfrm>
          <a:off x="4716463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1B56F748-4630-031E-DA83-0BB0BC14DE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16463" y="1566863"/>
                        <a:ext cx="4321175" cy="4329112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209141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568581-F1F2-D408-2257-BB51F67919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94190-5F9C-E2E5-6C96-552967564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936C37-1D07-EAB1-3344-64AE5F59BB2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751B50-FD55-035C-9A18-8B31FEEA1D6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4C4AB7-6529-C450-A94A-D77A9E9C44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Business Cycle: Public Sector Deb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FC47BF-2242-A45D-6F53-D9DCB827D5A6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E748E8-E5C0-B52D-6716-D2C4C6ED9036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Business Cycle</a:t>
            </a:r>
          </a:p>
        </p:txBody>
      </p:sp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C2E7707E-DDB6-43F8-3FEC-3036D37FE83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09468406"/>
              </p:ext>
            </p:extLst>
          </p:nvPr>
        </p:nvGraphicFramePr>
        <p:xfrm>
          <a:off x="141288" y="1566863"/>
          <a:ext cx="4319587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kt 5">
                        <a:extLst>
                          <a:ext uri="{FF2B5EF4-FFF2-40B4-BE49-F238E27FC236}">
                            <a16:creationId xmlns:a16="http://schemas.microsoft.com/office/drawing/2014/main" id="{C2E7707E-DDB6-43F8-3FEC-3036D37FE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1288" y="1566863"/>
                        <a:ext cx="4319587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DE60A84F-C5D0-5156-6927-1A0FC8D6620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66214223"/>
              </p:ext>
            </p:extLst>
          </p:nvPr>
        </p:nvGraphicFramePr>
        <p:xfrm>
          <a:off x="4686300" y="1565275"/>
          <a:ext cx="4319588" cy="4325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8568711" imgH="8584971" progId="Mbnd.mbnd">
                  <p:embed/>
                </p:oleObj>
              </mc:Choice>
              <mc:Fallback>
                <p:oleObj name="Macrobond document" r:id="rId4" imgW="8568711" imgH="8584971" progId="Mbnd.mbnd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DE60A84F-C5D0-5156-6927-1A0FC8D662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86300" y="1565275"/>
                        <a:ext cx="4319588" cy="4325938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371046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69082D-0B0B-4BAE-940F-B443EA0DD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Factor</a:t>
            </a:r>
            <a:r>
              <a:rPr lang="de-CH" dirty="0"/>
              <a:t> View Anlagebereich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897244-D155-4E37-A24C-072BE4D4595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D6CE84-FB87-48B3-918C-83821F8F6DB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D0A768-ADBC-4A80-9DDC-3CCAD43A5C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Risikolandschaft</a:t>
            </a:r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0FCD05-B66F-4227-A3E2-5261739D8922}"/>
              </a:ext>
            </a:extLst>
          </p:cNvPr>
          <p:cNvSpPr txBox="1"/>
          <p:nvPr/>
        </p:nvSpPr>
        <p:spPr>
          <a:xfrm>
            <a:off x="329328" y="6165259"/>
            <a:ext cx="201176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Blackrock</a:t>
            </a:r>
            <a:r>
              <a:rPr lang="de-CH" sz="1200" dirty="0"/>
              <a:t>,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D13DF8F-5D5B-0E64-33D9-3317F541803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15900" y="1273176"/>
            <a:ext cx="4247177" cy="21526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C6BDE1B-1F47-8079-3B66-524B7124A35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215515" y="3598863"/>
            <a:ext cx="4248150" cy="2352675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6F1F953F-90D9-E702-B06B-7F23DDEC1FA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6403864"/>
              </p:ext>
            </p:extLst>
          </p:nvPr>
        </p:nvGraphicFramePr>
        <p:xfrm>
          <a:off x="4573588" y="3598863"/>
          <a:ext cx="4295775" cy="2352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5" imgW="8568711" imgH="4292666" progId="Mbnd.mbnd">
                  <p:embed/>
                </p:oleObj>
              </mc:Choice>
              <mc:Fallback>
                <p:oleObj name="Macrobond document" r:id="rId5" imgW="8568711" imgH="4292666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6F1F953F-90D9-E702-B06B-7F23DDEC1F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573588" y="3598863"/>
                        <a:ext cx="4295775" cy="2352675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32569807-A2C9-62A8-9A05-FAD3DE3FB9A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05227626"/>
              </p:ext>
            </p:extLst>
          </p:nvPr>
        </p:nvGraphicFramePr>
        <p:xfrm>
          <a:off x="4967288" y="1271588"/>
          <a:ext cx="3570287" cy="2155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7" imgW="4579599" imgH="3243203" progId="Mbnd.mbnd">
                  <p:embed/>
                </p:oleObj>
              </mc:Choice>
              <mc:Fallback>
                <p:oleObj name="Macrobond document" r:id="rId7" imgW="4579599" imgH="3243203" progId="Mbnd.mbnd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32569807-A2C9-62A8-9A05-FAD3DE3FB9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967288" y="1271588"/>
                        <a:ext cx="3570287" cy="2155825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152875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1F0976-2F1C-4E77-9035-A3C19C36D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9E95CF-F1DE-40A6-BF19-9E2A3937115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1B632-3B0A-48A3-AFFA-63E54314885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47E2E1-CDC7-480E-A2C3-3342E2AA66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Business Cycle: Deb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BB275E-09B5-4AEA-A554-8F9CDDF246A2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7168C96-DE3D-4C8B-BD3B-2BC2347E3AA6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Business Cycle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83EF0EF1-AEC3-464F-B9FE-AE401416C46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79295227"/>
              </p:ext>
            </p:extLst>
          </p:nvPr>
        </p:nvGraphicFramePr>
        <p:xfrm>
          <a:off x="117475" y="1566863"/>
          <a:ext cx="4316413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83EF0EF1-AEC3-464F-B9FE-AE401416C4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7475" y="1566863"/>
                        <a:ext cx="4316413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84862763-A0F1-49AE-9A70-8D16B0A9C7D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336361"/>
              </p:ext>
            </p:extLst>
          </p:nvPr>
        </p:nvGraphicFramePr>
        <p:xfrm>
          <a:off x="4710113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84862763-A0F1-49AE-9A70-8D16B0A9C7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10113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450016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1F0976-2F1C-4E77-9035-A3C19C36D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9E95CF-F1DE-40A6-BF19-9E2A3937115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1B632-3B0A-48A3-AFFA-63E54314885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47E2E1-CDC7-480E-A2C3-3342E2AA66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Business Cycle: Deb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BB275E-09B5-4AEA-A554-8F9CDDF246A2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7168C96-DE3D-4C8B-BD3B-2BC2347E3AA6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Business Cycle</a:t>
            </a:r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80CA2378-A85E-A3BF-A803-A4226D6D1E8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15178497"/>
              </p:ext>
            </p:extLst>
          </p:nvPr>
        </p:nvGraphicFramePr>
        <p:xfrm>
          <a:off x="877888" y="1111250"/>
          <a:ext cx="7386637" cy="4932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8568711" imgH="5723194" progId="Mbnd.mbnd">
                  <p:embed/>
                </p:oleObj>
              </mc:Choice>
              <mc:Fallback>
                <p:oleObj name="Macrobond document" r:id="rId2" imgW="8568711" imgH="5723194" progId="Mbnd.mbnd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80CA2378-A85E-A3BF-A803-A4226D6D1E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877888" y="1111250"/>
                        <a:ext cx="7386637" cy="4932363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076994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CDA23B-2C3B-4B3F-9F5C-22008FEEA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D17775-0D35-4770-AABC-5A3F0C3BF2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A183DB-2322-4873-847E-A629BD8DC1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3CA526-D67E-480D-96BB-A85F7644BA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Business Cycle: Central Bank Policy </a:t>
            </a:r>
            <a:r>
              <a:rPr lang="de-CH" dirty="0" err="1"/>
              <a:t>Cycles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28C3FC-237B-4A40-8AB3-7DB08A9D14F7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Business Cycle</a:t>
            </a: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1B33A645-EED2-46D6-A8CE-C6E9C5105EA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17603094"/>
              </p:ext>
            </p:extLst>
          </p:nvPr>
        </p:nvGraphicFramePr>
        <p:xfrm>
          <a:off x="117475" y="1566863"/>
          <a:ext cx="4316413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1B33A645-EED2-46D6-A8CE-C6E9C5105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7475" y="1566863"/>
                        <a:ext cx="4316413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4EC842D5-23CC-4B3F-8EAD-5063099D158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28550595"/>
              </p:ext>
            </p:extLst>
          </p:nvPr>
        </p:nvGraphicFramePr>
        <p:xfrm>
          <a:off x="4710113" y="1566863"/>
          <a:ext cx="4318000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4EC842D5-23CC-4B3F-8EAD-5063099D1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10113" y="1566863"/>
                        <a:ext cx="4318000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F06FFDAE-1BFE-40F3-A42D-AAA0E4751B4D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34947150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CDA23B-2C3B-4B3F-9F5C-22008FEEA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D17775-0D35-4770-AABC-5A3F0C3BF2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A183DB-2322-4873-847E-A629BD8DC1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3CA526-D67E-480D-96BB-A85F7644BA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Business Cycle: </a:t>
            </a:r>
            <a:r>
              <a:rPr lang="de-CH" dirty="0" err="1"/>
              <a:t>Saving</a:t>
            </a:r>
            <a:r>
              <a:rPr lang="de-CH" dirty="0"/>
              <a:t> Rates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28C3FC-237B-4A40-8AB3-7DB08A9D14F7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Business Cyc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4E1E0B6-BFF8-4B73-9A77-56CA45955EB6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FFF42F1-5098-95D4-949D-B3237CF6BB6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53222965"/>
              </p:ext>
            </p:extLst>
          </p:nvPr>
        </p:nvGraphicFramePr>
        <p:xfrm>
          <a:off x="119063" y="1566863"/>
          <a:ext cx="4316412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8FFF42F1-5098-95D4-949D-B3237CF6B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9063" y="1566863"/>
                        <a:ext cx="4316412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1FEFC10A-8A38-D0F7-717F-FF6C17B855E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74597963"/>
              </p:ext>
            </p:extLst>
          </p:nvPr>
        </p:nvGraphicFramePr>
        <p:xfrm>
          <a:off x="4708525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1FEFC10A-8A38-D0F7-717F-FF6C17B85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08525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141646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CDA23B-2C3B-4B3F-9F5C-22008FEEA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D17775-0D35-4770-AABC-5A3F0C3BF2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A183DB-2322-4873-847E-A629BD8DC1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3CA526-D67E-480D-96BB-A85F7644BA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Business Cycle: </a:t>
            </a:r>
            <a:r>
              <a:rPr lang="de-CH" dirty="0" err="1"/>
              <a:t>Saving</a:t>
            </a:r>
            <a:r>
              <a:rPr lang="de-CH" dirty="0"/>
              <a:t> Rate, </a:t>
            </a:r>
            <a:r>
              <a:rPr lang="de-CH" dirty="0" err="1"/>
              <a:t>Unemployment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28C3FC-237B-4A40-8AB3-7DB08A9D14F7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Business Cycle</a:t>
            </a: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10657799-BCA1-4E51-BEB8-B04111C0175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07756981"/>
              </p:ext>
            </p:extLst>
          </p:nvPr>
        </p:nvGraphicFramePr>
        <p:xfrm>
          <a:off x="119063" y="1566863"/>
          <a:ext cx="4316412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10657799-BCA1-4E51-BEB8-B04111C017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9063" y="1566863"/>
                        <a:ext cx="4316412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D4E1E0B6-BFF8-4B73-9A77-56CA45955EB6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E86BC3A2-6D90-8858-C259-6EA4FD4E408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56300128"/>
              </p:ext>
            </p:extLst>
          </p:nvPr>
        </p:nvGraphicFramePr>
        <p:xfrm>
          <a:off x="4708525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E86BC3A2-6D90-8858-C259-6EA4FD4E40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08525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673861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CDA23B-2C3B-4B3F-9F5C-22008FEEA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D17775-0D35-4770-AABC-5A3F0C3BF2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A183DB-2322-4873-847E-A629BD8DC1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3CA526-D67E-480D-96BB-A85F7644BA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516" y="584743"/>
            <a:ext cx="8712000" cy="369332"/>
          </a:xfrm>
        </p:spPr>
        <p:txBody>
          <a:bodyPr/>
          <a:lstStyle/>
          <a:p>
            <a:r>
              <a:rPr lang="de-CH" dirty="0"/>
              <a:t>Business Cycle: Emerging Markets Equity vs. Liquidit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28C3FC-237B-4A40-8AB3-7DB08A9D14F7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Business Cyc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4E1E0B6-BFF8-4B73-9A77-56CA45955EB6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AFA66E12-D56A-3977-778E-0AE30C14D94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33049795"/>
              </p:ext>
            </p:extLst>
          </p:nvPr>
        </p:nvGraphicFramePr>
        <p:xfrm>
          <a:off x="984250" y="1252538"/>
          <a:ext cx="7173913" cy="47894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8568711" imgH="5723194" progId="Mbnd.mbnd">
                  <p:embed/>
                </p:oleObj>
              </mc:Choice>
              <mc:Fallback>
                <p:oleObj name="Macrobond document" r:id="rId2" imgW="8568711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AFA66E12-D56A-3977-778E-0AE30C14D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984250" y="1252538"/>
                        <a:ext cx="7173913" cy="4789487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321237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B7F4B-8003-4EBF-BA0D-E0E3E4FBE1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F1A1C0-E05F-4DE5-A7E8-FF217FF8EA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C29AFD-965E-4626-874D-5BB6AA9679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D82AC0-A8E1-460E-B80E-2F2EDC028C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Inflation: Forecasts</a:t>
            </a:r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4D8BA5-ACBA-4AAF-AA44-BAA1EF60B3F4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49AB83D-55A9-ABBD-B1D9-24655F12F9D3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Inflation</a:t>
            </a:r>
          </a:p>
        </p:txBody>
      </p:sp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9FD05414-FBC3-D8B1-80EE-67C79B36080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76228075"/>
              </p:ext>
            </p:extLst>
          </p:nvPr>
        </p:nvGraphicFramePr>
        <p:xfrm>
          <a:off x="215900" y="3533775"/>
          <a:ext cx="3968750" cy="2651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6283769" imgH="4197129" progId="Mbnd.mbnd">
                  <p:embed/>
                </p:oleObj>
              </mc:Choice>
              <mc:Fallback>
                <p:oleObj name="Macrobond document" r:id="rId2" imgW="6283769" imgH="4197129" progId="Mbnd.mbnd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9FD05414-FBC3-D8B1-80EE-67C79B360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5900" y="3533775"/>
                        <a:ext cx="3968750" cy="2651125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2E9856EE-0F21-6D96-4955-DE10E721D63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33931780"/>
              </p:ext>
            </p:extLst>
          </p:nvPr>
        </p:nvGraphicFramePr>
        <p:xfrm>
          <a:off x="4927600" y="3532188"/>
          <a:ext cx="3965575" cy="2651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6283769" imgH="4197129" progId="Mbnd.mbnd">
                  <p:embed/>
                </p:oleObj>
              </mc:Choice>
              <mc:Fallback>
                <p:oleObj name="Macrobond document" r:id="rId4" imgW="6283769" imgH="4197129" progId="Mbnd.mbnd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2E9856EE-0F21-6D96-4955-DE10E72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927600" y="3532188"/>
                        <a:ext cx="3965575" cy="2651125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7CB2F82A-AB53-E2E0-0782-F75A1D2BD2E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88953766"/>
              </p:ext>
            </p:extLst>
          </p:nvPr>
        </p:nvGraphicFramePr>
        <p:xfrm>
          <a:off x="217488" y="1136650"/>
          <a:ext cx="8589962" cy="2166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6" imgW="9225767" imgH="2327492" progId="Mbnd.mbnd">
                  <p:embed/>
                </p:oleObj>
              </mc:Choice>
              <mc:Fallback>
                <p:oleObj name="Macrobond document" r:id="rId6" imgW="9225767" imgH="2327492" progId="Mbnd.mbnd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7CB2F82A-AB53-E2E0-0782-F75A1D2BD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7488" y="1136650"/>
                        <a:ext cx="8589962" cy="2166938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023620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B7F4B-8003-4EBF-BA0D-E0E3E4FBE1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F1A1C0-E05F-4DE5-A7E8-FF217FF8EA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C29AFD-965E-4626-874D-5BB6AA9679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D82AC0-A8E1-460E-B80E-2F2EDC028C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Inflation: Forecasts</a:t>
            </a:r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4D8BA5-ACBA-4AAF-AA44-BAA1EF60B3F4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49AB83D-55A9-ABBD-B1D9-24655F12F9D3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Inflation</a:t>
            </a:r>
          </a:p>
        </p:txBody>
      </p:sp>
      <p:graphicFrame>
        <p:nvGraphicFramePr>
          <p:cNvPr id="16" name="Object 15">
            <a:extLst>
              <a:ext uri="{FF2B5EF4-FFF2-40B4-BE49-F238E27FC236}">
                <a16:creationId xmlns:a16="http://schemas.microsoft.com/office/drawing/2014/main" id="{23F02F30-D8CE-538B-1584-6B0552097D4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5598992"/>
              </p:ext>
            </p:extLst>
          </p:nvPr>
        </p:nvGraphicFramePr>
        <p:xfrm>
          <a:off x="119063" y="1566863"/>
          <a:ext cx="4316412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16" name="Object 15">
                        <a:extLst>
                          <a:ext uri="{FF2B5EF4-FFF2-40B4-BE49-F238E27FC236}">
                            <a16:creationId xmlns:a16="http://schemas.microsoft.com/office/drawing/2014/main" id="{23F02F30-D8CE-538B-1584-6B0552097D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9063" y="1566863"/>
                        <a:ext cx="4316412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5F31AF93-4D47-06F7-E0D6-131CC57EB2F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61765114"/>
              </p:ext>
            </p:extLst>
          </p:nvPr>
        </p:nvGraphicFramePr>
        <p:xfrm>
          <a:off x="4708525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5F31AF93-4D47-06F7-E0D6-131CC57EB2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08525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484076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2BE39-4853-4FDF-81B0-8C533CCEF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210158-BE47-400B-8A55-36DB833EB4D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3A2CF-3CE1-4B16-8252-8543AB9FFB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946542C-31B0-4D33-A8DF-15552EA232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Inflation: Market </a:t>
            </a:r>
            <a:r>
              <a:rPr lang="de-CH" dirty="0" err="1"/>
              <a:t>Expectations</a:t>
            </a:r>
            <a:r>
              <a:rPr lang="de-CH" dirty="0"/>
              <a:t> and </a:t>
            </a:r>
            <a:r>
              <a:rPr lang="de-CH" dirty="0" err="1"/>
              <a:t>Leading</a:t>
            </a:r>
            <a:r>
              <a:rPr lang="de-CH" dirty="0"/>
              <a:t> </a:t>
            </a:r>
            <a:r>
              <a:rPr lang="de-CH" dirty="0" err="1"/>
              <a:t>Indicators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9039EEF-F748-456D-9877-FFB109A397FC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Inflation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D70A38C1-CB22-2578-8B58-8EE88F3BE7C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12079684"/>
              </p:ext>
            </p:extLst>
          </p:nvPr>
        </p:nvGraphicFramePr>
        <p:xfrm>
          <a:off x="130175" y="1566863"/>
          <a:ext cx="4316413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D70A38C1-CB22-2578-8B58-8EE88F3BE7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30175" y="1566863"/>
                        <a:ext cx="4316413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11DF14B2-9C63-4B3C-6590-C3E9B8D9B7F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25777289"/>
              </p:ext>
            </p:extLst>
          </p:nvPr>
        </p:nvGraphicFramePr>
        <p:xfrm>
          <a:off x="4697413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11DF14B2-9C63-4B3C-6590-C3E9B8D9B7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97413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7E925A03-B994-263F-D28B-EDDC6618FDDE}"/>
              </a:ext>
            </a:extLst>
          </p:cNvPr>
          <p:cNvSpPr txBox="1"/>
          <p:nvPr/>
        </p:nvSpPr>
        <p:spPr>
          <a:xfrm>
            <a:off x="320400" y="6180924"/>
            <a:ext cx="208230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r>
              <a:rPr lang="de-CH" sz="1200" dirty="0"/>
              <a:t>, Bloomberg</a:t>
            </a:r>
          </a:p>
        </p:txBody>
      </p:sp>
    </p:spTree>
    <p:extLst>
      <p:ext uri="{BB962C8B-B14F-4D97-AF65-F5344CB8AC3E}">
        <p14:creationId xmlns:p14="http://schemas.microsoft.com/office/powerpoint/2010/main" val="9580205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6D9276-3856-4134-9173-99600646D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655D3D-0079-4BAB-8C5D-04592DED719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32599B-3DBD-4A9B-AC98-571C052F352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D5F621-4B2F-485E-A5C8-03C425E821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Inflation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F89C646-7C67-4080-9D95-9B1F55E59DC2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Inflation</a:t>
            </a: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695A2EC5-92FD-49F1-3687-90577161451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04373410"/>
              </p:ext>
            </p:extLst>
          </p:nvPr>
        </p:nvGraphicFramePr>
        <p:xfrm>
          <a:off x="130175" y="1566863"/>
          <a:ext cx="4318000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695A2EC5-92FD-49F1-3687-9057716145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30175" y="1566863"/>
                        <a:ext cx="4318000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1CF9E198-E8AA-C450-66AA-15DBBF0009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678039"/>
              </p:ext>
            </p:extLst>
          </p:nvPr>
        </p:nvGraphicFramePr>
        <p:xfrm>
          <a:off x="4692650" y="1566863"/>
          <a:ext cx="4319588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1CF9E198-E8AA-C450-66AA-15DBBF000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92650" y="1566863"/>
                        <a:ext cx="4319588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3932EA6D-E6B1-363D-B772-81F278EDFB8B}"/>
              </a:ext>
            </a:extLst>
          </p:cNvPr>
          <p:cNvSpPr txBox="1"/>
          <p:nvPr/>
        </p:nvSpPr>
        <p:spPr>
          <a:xfrm>
            <a:off x="329328" y="6204448"/>
            <a:ext cx="11782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24650336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34EC63-E6EA-4E59-98E7-E6262922A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837178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FEE2E3-7FC9-4D9F-90F6-9A2206BCA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86B8EDE-64E9-4C11-A9F1-1CE878EA4A6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73965B-64AD-4467-A390-F3F0BAB2E6E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47A99A-1076-4BA4-BD30-03393F7850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516" y="584743"/>
            <a:ext cx="8712000" cy="369332"/>
          </a:xfrm>
        </p:spPr>
        <p:txBody>
          <a:bodyPr/>
          <a:lstStyle/>
          <a:p>
            <a:r>
              <a:rPr lang="en-US" dirty="0"/>
              <a:t>Inflation Europa und Schweiz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EE0C87EE-9CCF-4C46-8D46-9955A9DDA7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16173165"/>
              </p:ext>
            </p:extLst>
          </p:nvPr>
        </p:nvGraphicFramePr>
        <p:xfrm>
          <a:off x="131763" y="1566863"/>
          <a:ext cx="4318000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EE0C87EE-9CCF-4C46-8D46-9955A9DDA7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31763" y="1566863"/>
                        <a:ext cx="4318000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BFCAEEA-CE90-4F09-BDD1-B04C52E10B61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Infl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E0F0D3-142C-839C-A348-A55EB9A61057}"/>
              </a:ext>
            </a:extLst>
          </p:cNvPr>
          <p:cNvSpPr txBox="1"/>
          <p:nvPr/>
        </p:nvSpPr>
        <p:spPr>
          <a:xfrm>
            <a:off x="340320" y="6294765"/>
            <a:ext cx="11782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E05D10C6-5631-2205-82FE-C8A74FED230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14048559"/>
              </p:ext>
            </p:extLst>
          </p:nvPr>
        </p:nvGraphicFramePr>
        <p:xfrm>
          <a:off x="4694238" y="1566863"/>
          <a:ext cx="4322762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E05D10C6-5631-2205-82FE-C8A74FED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94238" y="1566863"/>
                        <a:ext cx="4322762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61595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026E1-2229-4FCE-983C-DF0EDC62A8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BAAF73-11ED-405A-ACE7-79BB8CDBF39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E7792C-79EA-4F66-B717-84790253C9A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B1B596D-A442-48E3-9129-600E124455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flation USA</a:t>
            </a: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DD090BDF-9343-4E3C-AA25-28A0093D9E2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19069681"/>
              </p:ext>
            </p:extLst>
          </p:nvPr>
        </p:nvGraphicFramePr>
        <p:xfrm>
          <a:off x="928688" y="973138"/>
          <a:ext cx="7197725" cy="5103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3" imgW="10244455" imgH="7268726" progId="Mbnd.mbnd">
                  <p:embed/>
                </p:oleObj>
              </mc:Choice>
              <mc:Fallback>
                <p:oleObj name="Macrobond document" r:id="rId3" imgW="10244455" imgH="7268726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DD090BDF-9343-4E3C-AA25-28A0093D9E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28688" y="973138"/>
                        <a:ext cx="7197725" cy="51038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E7EAD7CE-3D17-4CD5-9294-5ACC8D43ACEA}"/>
              </a:ext>
            </a:extLst>
          </p:cNvPr>
          <p:cNvSpPr txBox="1"/>
          <p:nvPr/>
        </p:nvSpPr>
        <p:spPr>
          <a:xfrm>
            <a:off x="329328" y="6204448"/>
            <a:ext cx="11782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9447AD6-D5C7-4CB4-9EF7-7F12A5C4C579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Inflation</a:t>
            </a:r>
          </a:p>
        </p:txBody>
      </p:sp>
    </p:spTree>
    <p:extLst>
      <p:ext uri="{BB962C8B-B14F-4D97-AF65-F5344CB8AC3E}">
        <p14:creationId xmlns:p14="http://schemas.microsoft.com/office/powerpoint/2010/main" val="31110067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026E1-2229-4FCE-983C-DF0EDC62A8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BAAF73-11ED-405A-ACE7-79BB8CDBF39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E7792C-79EA-4F66-B717-84790253C9A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B1B596D-A442-48E3-9129-600E124455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flation Europ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EAD7CE-3D17-4CD5-9294-5ACC8D43ACEA}"/>
              </a:ext>
            </a:extLst>
          </p:cNvPr>
          <p:cNvSpPr txBox="1"/>
          <p:nvPr/>
        </p:nvSpPr>
        <p:spPr>
          <a:xfrm>
            <a:off x="329328" y="6204448"/>
            <a:ext cx="11782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848BD7BD-FD62-4DE1-A32D-D350D5C845C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28280134"/>
              </p:ext>
            </p:extLst>
          </p:nvPr>
        </p:nvGraphicFramePr>
        <p:xfrm>
          <a:off x="755650" y="1668463"/>
          <a:ext cx="7634288" cy="3525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8521213" imgH="3939720" progId="Mbnd.mbnd">
                  <p:embed/>
                </p:oleObj>
              </mc:Choice>
              <mc:Fallback>
                <p:oleObj name="Macrobond document" r:id="rId2" imgW="8521213" imgH="3939720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848BD7BD-FD62-4DE1-A32D-D350D5C845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755650" y="1668463"/>
                        <a:ext cx="7634288" cy="3525837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A7A6720E-6431-4D1E-96A3-DAB4E4C35C64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Inflation</a:t>
            </a:r>
          </a:p>
        </p:txBody>
      </p:sp>
    </p:spTree>
    <p:extLst>
      <p:ext uri="{BB962C8B-B14F-4D97-AF65-F5344CB8AC3E}">
        <p14:creationId xmlns:p14="http://schemas.microsoft.com/office/powerpoint/2010/main" val="92757006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026E1-2229-4FCE-983C-DF0EDC62A8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BAAF73-11ED-405A-ACE7-79BB8CDBF39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E7792C-79EA-4F66-B717-84790253C9A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B1B596D-A442-48E3-9129-600E124455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516" y="584743"/>
            <a:ext cx="8712000" cy="369332"/>
          </a:xfrm>
        </p:spPr>
        <p:txBody>
          <a:bodyPr/>
          <a:lstStyle/>
          <a:p>
            <a:r>
              <a:rPr lang="en-US" dirty="0"/>
              <a:t>Inflation Schweiz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EAD7CE-3D17-4CD5-9294-5ACC8D43ACEA}"/>
              </a:ext>
            </a:extLst>
          </p:cNvPr>
          <p:cNvSpPr txBox="1"/>
          <p:nvPr/>
        </p:nvSpPr>
        <p:spPr>
          <a:xfrm>
            <a:off x="329328" y="6204448"/>
            <a:ext cx="11782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7E116EC8-8FFB-404C-B85B-3D7AB113C6C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79201532"/>
              </p:ext>
            </p:extLst>
          </p:nvPr>
        </p:nvGraphicFramePr>
        <p:xfrm>
          <a:off x="742950" y="1593850"/>
          <a:ext cx="7661275" cy="3673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8997273" imgH="4311773" progId="Mbnd.mbnd">
                  <p:embed/>
                </p:oleObj>
              </mc:Choice>
              <mc:Fallback>
                <p:oleObj name="Macrobond document" r:id="rId2" imgW="8997273" imgH="4311773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7E116EC8-8FFB-404C-B85B-3D7AB113C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742950" y="1593850"/>
                        <a:ext cx="7661275" cy="3673475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8CCB45D0-567E-42DF-B5F2-282F2E87BA7E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Inflation</a:t>
            </a:r>
          </a:p>
        </p:txBody>
      </p:sp>
    </p:spTree>
    <p:extLst>
      <p:ext uri="{BB962C8B-B14F-4D97-AF65-F5344CB8AC3E}">
        <p14:creationId xmlns:p14="http://schemas.microsoft.com/office/powerpoint/2010/main" val="57916133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2AFF91-B723-E890-C772-DFBCCBD42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de-CH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DC1F20-D3D3-0C2A-AFC3-3E5B338065D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3E3F0B-7DBC-168E-F152-8D666F37319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D81EC-0979-789F-1DE8-876B30ECDE3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Geldpolitik</a:t>
            </a: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356D13E2-808B-CF13-BCA6-A692C3C6E6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68245506"/>
              </p:ext>
            </p:extLst>
          </p:nvPr>
        </p:nvGraphicFramePr>
        <p:xfrm>
          <a:off x="922338" y="1404938"/>
          <a:ext cx="7299325" cy="48720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8568711" imgH="5723194" progId="Mbnd.mbnd">
                  <p:embed/>
                </p:oleObj>
              </mc:Choice>
              <mc:Fallback>
                <p:oleObj name="Macrobond document" r:id="rId2" imgW="8568711" imgH="5723194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356D13E2-808B-CF13-BCA6-A692C3C6E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922338" y="1404938"/>
                        <a:ext cx="7299325" cy="4872037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5FD1523-7872-3273-EC6F-78DF6A10ED3C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Central Bank Policy</a:t>
            </a:r>
          </a:p>
        </p:txBody>
      </p:sp>
    </p:spTree>
    <p:extLst>
      <p:ext uri="{BB962C8B-B14F-4D97-AF65-F5344CB8AC3E}">
        <p14:creationId xmlns:p14="http://schemas.microsoft.com/office/powerpoint/2010/main" val="130626010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F65F6-BBC2-47B6-82DB-A70EB9671E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89C267-ACB8-434F-9DA4-23207066F9D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5B8649-26FF-4CD4-9484-B19F9A88887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1AF329-4952-493A-909A-DABFB9166A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Geldpolitik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6CCF44-AE94-45F6-93BB-D184BE0AE718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Central Bank Policy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A02A9111-9F46-E6A7-8F8D-E44A55B7F5E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14265143"/>
              </p:ext>
            </p:extLst>
          </p:nvPr>
        </p:nvGraphicFramePr>
        <p:xfrm>
          <a:off x="150813" y="1566863"/>
          <a:ext cx="4316412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A02A9111-9F46-E6A7-8F8D-E44A55B7F5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0813" y="1566863"/>
                        <a:ext cx="4316412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DDA1184C-5B1B-7BF1-AD78-20323002F39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16895865"/>
              </p:ext>
            </p:extLst>
          </p:nvPr>
        </p:nvGraphicFramePr>
        <p:xfrm>
          <a:off x="4676775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DDA1184C-5B1B-7BF1-AD78-20323002F3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76775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8575025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E3B28-CDBE-422E-A2A1-F02E67E50D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3D9A08-A13F-419D-A548-907E988EDD4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567EF4-4DA7-4B34-871E-99C85238F7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9BA6E7-AFBA-4ADA-891C-77699AA05E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err="1"/>
              <a:t>Themes</a:t>
            </a:r>
            <a:r>
              <a:rPr lang="de-CH" dirty="0"/>
              <a:t>: US Housing</a:t>
            </a:r>
            <a:endParaRPr lang="en-GB" dirty="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91BFECD2-7217-4203-BBE7-14725D38D7C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5082891"/>
              </p:ext>
            </p:extLst>
          </p:nvPr>
        </p:nvGraphicFramePr>
        <p:xfrm>
          <a:off x="3373438" y="1211263"/>
          <a:ext cx="2395537" cy="2403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91BFECD2-7217-4203-BBE7-14725D38D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373438" y="1211263"/>
                        <a:ext cx="2395537" cy="2403475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A7D424BB-E9F4-4AE7-AAF5-D2A39EAA83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47928651"/>
              </p:ext>
            </p:extLst>
          </p:nvPr>
        </p:nvGraphicFramePr>
        <p:xfrm>
          <a:off x="3373438" y="3919538"/>
          <a:ext cx="2395537" cy="2405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A7D424BB-E9F4-4AE7-AAF5-D2A39EAA83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73438" y="3919538"/>
                        <a:ext cx="2395537" cy="240506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6AA153FF-5D8A-481F-9903-04EB1AD77E4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29740926"/>
              </p:ext>
            </p:extLst>
          </p:nvPr>
        </p:nvGraphicFramePr>
        <p:xfrm>
          <a:off x="6169025" y="1211263"/>
          <a:ext cx="2395538" cy="2403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6" imgW="5712354" imgH="5723194" progId="Mbnd.mbnd">
                  <p:embed/>
                </p:oleObj>
              </mc:Choice>
              <mc:Fallback>
                <p:oleObj name="Macrobond document" r:id="rId6" imgW="5712354" imgH="5723194" progId="Mbnd.mbnd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6AA153FF-5D8A-481F-9903-04EB1AD77E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169025" y="1211263"/>
                        <a:ext cx="2395538" cy="2403475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FD663A51-963A-43CF-ACD8-7C96CD33171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23514896"/>
              </p:ext>
            </p:extLst>
          </p:nvPr>
        </p:nvGraphicFramePr>
        <p:xfrm>
          <a:off x="6169025" y="3919538"/>
          <a:ext cx="2395538" cy="2405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8" imgW="5712354" imgH="5723194" progId="Mbnd.mbnd">
                  <p:embed/>
                </p:oleObj>
              </mc:Choice>
              <mc:Fallback>
                <p:oleObj name="Macrobond document" r:id="rId8" imgW="5712354" imgH="5723194" progId="Mbnd.mbnd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FD663A51-963A-43CF-ACD8-7C96CD331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6169025" y="3919538"/>
                        <a:ext cx="2395538" cy="240506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549895D7-7702-420E-91CF-11E3810AD0E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068183"/>
              </p:ext>
            </p:extLst>
          </p:nvPr>
        </p:nvGraphicFramePr>
        <p:xfrm>
          <a:off x="508000" y="1211263"/>
          <a:ext cx="2401888" cy="2403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10" imgW="5712354" imgH="5723194" progId="Mbnd.mbnd">
                  <p:embed/>
                </p:oleObj>
              </mc:Choice>
              <mc:Fallback>
                <p:oleObj name="Macrobond document" r:id="rId10" imgW="5712354" imgH="5723194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549895D7-7702-420E-91CF-11E3810AD0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508000" y="1211263"/>
                        <a:ext cx="2401888" cy="2403475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33C8B50F-A2AA-41AC-ADE7-293F01051AC4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U.S. Housing</a:t>
            </a: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34B0CED2-F187-6277-57E6-79E5C7F21BF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31245553"/>
              </p:ext>
            </p:extLst>
          </p:nvPr>
        </p:nvGraphicFramePr>
        <p:xfrm>
          <a:off x="503238" y="3919538"/>
          <a:ext cx="2403475" cy="2405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12" imgW="5712354" imgH="5723194" progId="Mbnd.mbnd">
                  <p:embed/>
                </p:oleObj>
              </mc:Choice>
              <mc:Fallback>
                <p:oleObj name="Macrobond document" r:id="rId12" imgW="5712354" imgH="5723194" progId="Mbnd.mbnd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34B0CED2-F187-6277-57E6-79E5C7F21B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503238" y="3919538"/>
                        <a:ext cx="2403475" cy="240506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0967421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9D3D3-0CFA-49D5-988F-033B9691E1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de-CH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ACB064-FE3A-4391-8E73-7C5CFC66F4D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5F9AF4-49EB-4F2A-B471-425B403DD7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DD179B-32F9-4BC5-A0F1-9EBE7F77470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Themes: US Term Premiu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323295-9172-45F9-A6C2-57C3B2B212B3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U.S. Banks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A8665B07-014D-118B-B5FF-33ADD8DCF25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87462604"/>
              </p:ext>
            </p:extLst>
          </p:nvPr>
        </p:nvGraphicFramePr>
        <p:xfrm>
          <a:off x="804863" y="1184275"/>
          <a:ext cx="7531100" cy="5026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8568711" imgH="5723194" progId="Mbnd.mbnd">
                  <p:embed/>
                </p:oleObj>
              </mc:Choice>
              <mc:Fallback>
                <p:oleObj name="Macrobond document" r:id="rId2" imgW="8568711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A8665B07-014D-118B-B5FF-33ADD8DCF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804863" y="1184275"/>
                        <a:ext cx="7531100" cy="5026025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2151691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9D3D3-0CFA-49D5-988F-033B9691E1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de-CH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ACB064-FE3A-4391-8E73-7C5CFC66F4D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5F9AF4-49EB-4F2A-B471-425B403DD7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DD179B-32F9-4BC5-A0F1-9EBE7F77470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err="1"/>
              <a:t>Themes</a:t>
            </a:r>
            <a:r>
              <a:rPr lang="de-CH" dirty="0"/>
              <a:t>: US Banks</a:t>
            </a:r>
          </a:p>
        </p:txBody>
      </p:sp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2AD7937-E77C-42F0-930D-087C965ED18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75318962"/>
              </p:ext>
            </p:extLst>
          </p:nvPr>
        </p:nvGraphicFramePr>
        <p:xfrm>
          <a:off x="133350" y="1566863"/>
          <a:ext cx="4318000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82AD7937-E77C-42F0-930D-087C965ED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33350" y="1566863"/>
                        <a:ext cx="4318000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98C00841-6533-4A67-BDB8-670E7929E57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47439828"/>
              </p:ext>
            </p:extLst>
          </p:nvPr>
        </p:nvGraphicFramePr>
        <p:xfrm>
          <a:off x="4692650" y="1566863"/>
          <a:ext cx="4322763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98C00841-6533-4A67-BDB8-670E7929E5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92650" y="1566863"/>
                        <a:ext cx="4322763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A9323295-9172-45F9-A6C2-57C3B2B212B3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U.S. Banks</a:t>
            </a:r>
          </a:p>
        </p:txBody>
      </p:sp>
    </p:spTree>
    <p:extLst>
      <p:ext uri="{BB962C8B-B14F-4D97-AF65-F5344CB8AC3E}">
        <p14:creationId xmlns:p14="http://schemas.microsoft.com/office/powerpoint/2010/main" val="118270168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9D3D3-0CFA-49D5-988F-033B9691E1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de-CH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ACB064-FE3A-4391-8E73-7C5CFC66F4D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5F9AF4-49EB-4F2A-B471-425B403DD7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DD179B-32F9-4BC5-A0F1-9EBE7F77470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err="1"/>
              <a:t>Themes</a:t>
            </a:r>
            <a:r>
              <a:rPr lang="de-CH" dirty="0"/>
              <a:t>: US Consum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323295-9172-45F9-A6C2-57C3B2B212B3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U.S. Consumer</a:t>
            </a: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9D6828D9-CC1E-5CB4-73EA-C4B4105006A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68204294"/>
              </p:ext>
            </p:extLst>
          </p:nvPr>
        </p:nvGraphicFramePr>
        <p:xfrm>
          <a:off x="127000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9D6828D9-CC1E-5CB4-73EA-C4B4105006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000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kt 7">
            <a:extLst>
              <a:ext uri="{FF2B5EF4-FFF2-40B4-BE49-F238E27FC236}">
                <a16:creationId xmlns:a16="http://schemas.microsoft.com/office/drawing/2014/main" id="{005489EC-4380-3327-229E-6F37C3460BE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34992196"/>
              </p:ext>
            </p:extLst>
          </p:nvPr>
        </p:nvGraphicFramePr>
        <p:xfrm>
          <a:off x="4694238" y="1566863"/>
          <a:ext cx="4322762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8" name="Objekt 7">
                        <a:extLst>
                          <a:ext uri="{FF2B5EF4-FFF2-40B4-BE49-F238E27FC236}">
                            <a16:creationId xmlns:a16="http://schemas.microsoft.com/office/drawing/2014/main" id="{005489EC-4380-3327-229E-6F37C3460B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94238" y="1566863"/>
                        <a:ext cx="4322762" cy="43291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242935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087AC3-B9AB-4D1B-BCF2-528AC8FC7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BCE17E-FB53-4550-86AF-B1D238C700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7425B0-603A-4207-B82F-1DCB3261E16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0154A0-14BD-432B-957C-88F7BD9E57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GDP Growth: Forecasts 2025</a:t>
            </a:r>
            <a:endParaRPr lang="en-GB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39F2DB3-A1B3-48BA-8D55-C2153F3FB727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Growth</a:t>
            </a: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9A9602C2-5A4F-40F3-BE4E-8086044F820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78046834"/>
              </p:ext>
            </p:extLst>
          </p:nvPr>
        </p:nvGraphicFramePr>
        <p:xfrm>
          <a:off x="215900" y="1425575"/>
          <a:ext cx="4368800" cy="43322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4950947" imgH="4903019" progId="Mbnd.mbnd">
                  <p:embed/>
                </p:oleObj>
              </mc:Choice>
              <mc:Fallback>
                <p:oleObj name="Macrobond document" r:id="rId2" imgW="4950947" imgH="4903019" progId="Mbnd.mbnd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9A9602C2-5A4F-40F3-BE4E-8086044F82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5900" y="1425575"/>
                        <a:ext cx="4368800" cy="4332288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8AE49273-04AF-4E80-AD7C-4F7B8FECC2B7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46C764F3-6AE3-A881-6268-9C8C6415051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97510272"/>
              </p:ext>
            </p:extLst>
          </p:nvPr>
        </p:nvGraphicFramePr>
        <p:xfrm>
          <a:off x="4662488" y="1427163"/>
          <a:ext cx="4321175" cy="4316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46C764F3-6AE3-A881-6268-9C8C641505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62488" y="1427163"/>
                        <a:ext cx="4321175" cy="4316412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6432773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A8FC46-3C19-64DF-7224-FD0531112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ro</a:t>
            </a:r>
            <a:endParaRPr lang="de-CH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1590E3-7D15-341B-FB22-3A535943DD2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B0B63-C480-F411-8279-D41429E72D1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5A8A61-3131-8BEA-9C67-B2D589BA76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hemes: China</a:t>
            </a:r>
            <a:endParaRPr lang="de-CH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6AA8F72-2032-13AC-5B64-A2A2615759B6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China</a:t>
            </a:r>
          </a:p>
        </p:txBody>
      </p:sp>
      <p:graphicFrame>
        <p:nvGraphicFramePr>
          <p:cNvPr id="15" name="Object 14">
            <a:extLst>
              <a:ext uri="{FF2B5EF4-FFF2-40B4-BE49-F238E27FC236}">
                <a16:creationId xmlns:a16="http://schemas.microsoft.com/office/drawing/2014/main" id="{EF39990E-E9E8-85C7-910A-527FFE70128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25358823"/>
              </p:ext>
            </p:extLst>
          </p:nvPr>
        </p:nvGraphicFramePr>
        <p:xfrm>
          <a:off x="217488" y="977900"/>
          <a:ext cx="4244975" cy="2628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3" imgW="9606470" imgH="5942748" progId="Mbnd.mbnd">
                  <p:embed/>
                </p:oleObj>
              </mc:Choice>
              <mc:Fallback>
                <p:oleObj name="Macrobond document" r:id="rId3" imgW="9606470" imgH="5942748" progId="Mbnd.mbnd">
                  <p:embed/>
                  <p:pic>
                    <p:nvPicPr>
                      <p:cNvPr id="15" name="Object 14">
                        <a:extLst>
                          <a:ext uri="{FF2B5EF4-FFF2-40B4-BE49-F238E27FC236}">
                            <a16:creationId xmlns:a16="http://schemas.microsoft.com/office/drawing/2014/main" id="{EF39990E-E9E8-85C7-910A-527FFE7012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7488" y="977900"/>
                        <a:ext cx="4244975" cy="2628900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ct 15">
            <a:extLst>
              <a:ext uri="{FF2B5EF4-FFF2-40B4-BE49-F238E27FC236}">
                <a16:creationId xmlns:a16="http://schemas.microsoft.com/office/drawing/2014/main" id="{DF9E3715-457F-A33F-7596-46B92DD63EF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24581858"/>
              </p:ext>
            </p:extLst>
          </p:nvPr>
        </p:nvGraphicFramePr>
        <p:xfrm>
          <a:off x="4681538" y="974725"/>
          <a:ext cx="4246562" cy="2640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5" imgW="8568711" imgH="5723194" progId="Mbnd.mbnd">
                  <p:embed/>
                </p:oleObj>
              </mc:Choice>
              <mc:Fallback>
                <p:oleObj name="Macrobond document" r:id="rId5" imgW="8568711" imgH="5723194" progId="Mbnd.mbnd">
                  <p:embed/>
                  <p:pic>
                    <p:nvPicPr>
                      <p:cNvPr id="16" name="Object 15">
                        <a:extLst>
                          <a:ext uri="{FF2B5EF4-FFF2-40B4-BE49-F238E27FC236}">
                            <a16:creationId xmlns:a16="http://schemas.microsoft.com/office/drawing/2014/main" id="{DF9E3715-457F-A33F-7596-46B92DD63E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681538" y="974725"/>
                        <a:ext cx="4246562" cy="2640013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ct 16">
            <a:extLst>
              <a:ext uri="{FF2B5EF4-FFF2-40B4-BE49-F238E27FC236}">
                <a16:creationId xmlns:a16="http://schemas.microsoft.com/office/drawing/2014/main" id="{6506E836-4ED2-BC63-E1A7-9F8F7636088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57580973"/>
              </p:ext>
            </p:extLst>
          </p:nvPr>
        </p:nvGraphicFramePr>
        <p:xfrm>
          <a:off x="217488" y="3636963"/>
          <a:ext cx="4244975" cy="28368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7" imgW="8568711" imgH="5723194" progId="Mbnd.mbnd">
                  <p:embed/>
                </p:oleObj>
              </mc:Choice>
              <mc:Fallback>
                <p:oleObj name="Macrobond document" r:id="rId7" imgW="8568711" imgH="5723194" progId="Mbnd.mbnd">
                  <p:embed/>
                  <p:pic>
                    <p:nvPicPr>
                      <p:cNvPr id="17" name="Object 16">
                        <a:extLst>
                          <a:ext uri="{FF2B5EF4-FFF2-40B4-BE49-F238E27FC236}">
                            <a16:creationId xmlns:a16="http://schemas.microsoft.com/office/drawing/2014/main" id="{6506E836-4ED2-BC63-E1A7-9F8F763608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7488" y="3636963"/>
                        <a:ext cx="4244975" cy="283686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Object 17">
            <a:extLst>
              <a:ext uri="{FF2B5EF4-FFF2-40B4-BE49-F238E27FC236}">
                <a16:creationId xmlns:a16="http://schemas.microsoft.com/office/drawing/2014/main" id="{A027C80D-E0F5-88DC-63CA-0E5FD045047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02273028"/>
              </p:ext>
            </p:extLst>
          </p:nvPr>
        </p:nvGraphicFramePr>
        <p:xfrm>
          <a:off x="4681538" y="3648075"/>
          <a:ext cx="4246562" cy="2835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9" imgW="8568711" imgH="5723194" progId="Mbnd.mbnd">
                  <p:embed/>
                </p:oleObj>
              </mc:Choice>
              <mc:Fallback>
                <p:oleObj name="Macrobond document" r:id="rId9" imgW="8568711" imgH="5723194" progId="Mbnd.mbnd">
                  <p:embed/>
                  <p:pic>
                    <p:nvPicPr>
                      <p:cNvPr id="18" name="Object 17">
                        <a:extLst>
                          <a:ext uri="{FF2B5EF4-FFF2-40B4-BE49-F238E27FC236}">
                            <a16:creationId xmlns:a16="http://schemas.microsoft.com/office/drawing/2014/main" id="{A027C80D-E0F5-88DC-63CA-0E5FD0450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4681538" y="3648075"/>
                        <a:ext cx="4246562" cy="2835275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066343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087AC3-B9AB-4D1B-BCF2-528AC8FC7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BCE17E-FB53-4550-86AF-B1D238C700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7425B0-603A-4207-B82F-1DCB3261E16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0154A0-14BD-432B-957C-88F7BD9E57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GDP Growth: Forecasts 2026</a:t>
            </a:r>
            <a:endParaRPr lang="en-GB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39F2DB3-A1B3-48BA-8D55-C2153F3FB727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Growt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AE49273-04AF-4E80-AD7C-4F7B8FECC2B7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185F59C0-AFF3-4554-12F2-2E7233179C5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78720603"/>
              </p:ext>
            </p:extLst>
          </p:nvPr>
        </p:nvGraphicFramePr>
        <p:xfrm>
          <a:off x="4652963" y="1425575"/>
          <a:ext cx="4322762" cy="4318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185F59C0-AFF3-4554-12F2-2E7233179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652963" y="1425575"/>
                        <a:ext cx="4322762" cy="4318000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003F8E4D-1B69-A642-AA29-0DAB3EA0C50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47803638"/>
              </p:ext>
            </p:extLst>
          </p:nvPr>
        </p:nvGraphicFramePr>
        <p:xfrm>
          <a:off x="155575" y="1425575"/>
          <a:ext cx="4362450" cy="4321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4950947" imgH="4903019" progId="Mbnd.mbnd">
                  <p:embed/>
                </p:oleObj>
              </mc:Choice>
              <mc:Fallback>
                <p:oleObj name="Macrobond document" r:id="rId4" imgW="4950947" imgH="4903019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003F8E4D-1B69-A642-AA29-0DAB3EA0C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575" y="1425575"/>
                        <a:ext cx="4362450" cy="4321175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305410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087AC3-B9AB-4D1B-BCF2-528AC8FC7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BCE17E-FB53-4550-86AF-B1D238C700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7425B0-603A-4207-B82F-1DCB3261E16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0154A0-14BD-432B-957C-88F7BD9E57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GDP Growth: Forecasts</a:t>
            </a:r>
            <a:endParaRPr lang="en-GB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954A6AD-14CD-45BE-AB64-2C0C99F6C12F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Growth</a:t>
            </a:r>
          </a:p>
        </p:txBody>
      </p:sp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4EDD4ADF-534F-4BD4-8838-9A7F368E903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64204549"/>
              </p:ext>
            </p:extLst>
          </p:nvPr>
        </p:nvGraphicFramePr>
        <p:xfrm>
          <a:off x="3756025" y="1089025"/>
          <a:ext cx="5173663" cy="5176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4EDD4ADF-534F-4BD4-8838-9A7F368E90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756025" y="1089025"/>
                        <a:ext cx="5173663" cy="5176838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88250864-130E-4C18-854F-663B81F8871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72959193"/>
              </p:ext>
            </p:extLst>
          </p:nvPr>
        </p:nvGraphicFramePr>
        <p:xfrm>
          <a:off x="215900" y="1095375"/>
          <a:ext cx="3225800" cy="5186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4217966" imgH="6772656" progId="Mbnd.mbnd">
                  <p:embed/>
                </p:oleObj>
              </mc:Choice>
              <mc:Fallback>
                <p:oleObj name="Macrobond document" r:id="rId4" imgW="4217966" imgH="6772656" progId="Mbnd.mbnd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88250864-130E-4C18-854F-663B81F88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900" y="1095375"/>
                        <a:ext cx="3225800" cy="5186363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DCEF91D-6E44-4BB8-AA29-670936B9B6AA}"/>
              </a:ext>
            </a:extLst>
          </p:cNvPr>
          <p:cNvSpPr txBox="1"/>
          <p:nvPr/>
        </p:nvSpPr>
        <p:spPr>
          <a:xfrm>
            <a:off x="215515" y="6297168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14265904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087AC3-B9AB-4D1B-BCF2-528AC8FC7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BCE17E-FB53-4550-86AF-B1D238C700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7425B0-603A-4207-B82F-1DCB3261E16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0154A0-14BD-432B-957C-88F7BD9E57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GDP Growth: Forecasts 2025</a:t>
            </a:r>
            <a:endParaRPr lang="en-GB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954A6AD-14CD-45BE-AB64-2C0C99F6C12F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Growt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B427B90-5DCB-4FA5-BE47-0A50D96339E8}"/>
              </a:ext>
            </a:extLst>
          </p:cNvPr>
          <p:cNvSpPr txBox="1"/>
          <p:nvPr/>
        </p:nvSpPr>
        <p:spPr>
          <a:xfrm>
            <a:off x="215515" y="6297168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C72169A3-DC5C-0634-D76A-DD6A4FC3BC5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12328108"/>
              </p:ext>
            </p:extLst>
          </p:nvPr>
        </p:nvGraphicFramePr>
        <p:xfrm>
          <a:off x="217488" y="1031875"/>
          <a:ext cx="2514600" cy="2522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C72169A3-DC5C-0634-D76A-DD6A4FC3BC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7488" y="1031875"/>
                        <a:ext cx="2514600" cy="2522538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21168BED-6E3B-5816-9717-3F22053DE87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4930024"/>
              </p:ext>
            </p:extLst>
          </p:nvPr>
        </p:nvGraphicFramePr>
        <p:xfrm>
          <a:off x="6042025" y="1031875"/>
          <a:ext cx="2514600" cy="2520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21168BED-6E3B-5816-9717-3F22053DE8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042025" y="1031875"/>
                        <a:ext cx="2514600" cy="2520950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4C70C514-263F-5CBA-33E5-B4367232E76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52195394"/>
              </p:ext>
            </p:extLst>
          </p:nvPr>
        </p:nvGraphicFramePr>
        <p:xfrm>
          <a:off x="3128963" y="1027113"/>
          <a:ext cx="2514600" cy="2520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6" imgW="5712354" imgH="5723194" progId="Mbnd.mbnd">
                  <p:embed/>
                </p:oleObj>
              </mc:Choice>
              <mc:Fallback>
                <p:oleObj name="Macrobond document" r:id="rId6" imgW="5712354" imgH="5723194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4C70C514-263F-5CBA-33E5-B4367232E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28963" y="1027113"/>
                        <a:ext cx="2514600" cy="2520950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69DFFD80-1D9B-7A21-8802-9A316330CA8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38841130"/>
              </p:ext>
            </p:extLst>
          </p:nvPr>
        </p:nvGraphicFramePr>
        <p:xfrm>
          <a:off x="217488" y="3697288"/>
          <a:ext cx="2514600" cy="2519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8" imgW="5712354" imgH="5723194" progId="Mbnd.mbnd">
                  <p:embed/>
                </p:oleObj>
              </mc:Choice>
              <mc:Fallback>
                <p:oleObj name="Macrobond document" r:id="rId8" imgW="5712354" imgH="5723194" progId="Mbnd.mbnd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69DFFD80-1D9B-7A21-8802-9A316330CA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7488" y="3697288"/>
                        <a:ext cx="2514600" cy="251936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60FFB864-0484-5A48-F642-4804E0833D8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46624243"/>
              </p:ext>
            </p:extLst>
          </p:nvPr>
        </p:nvGraphicFramePr>
        <p:xfrm>
          <a:off x="6042025" y="3697288"/>
          <a:ext cx="2514600" cy="2519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10" imgW="5712354" imgH="5723194" progId="Mbnd.mbnd">
                  <p:embed/>
                </p:oleObj>
              </mc:Choice>
              <mc:Fallback>
                <p:oleObj name="Macrobond document" r:id="rId10" imgW="5712354" imgH="5723194" progId="Mbnd.mbnd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60FFB864-0484-5A48-F642-4804E0833D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6042025" y="3697288"/>
                        <a:ext cx="2514600" cy="251936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9BEA916E-2FA2-4F55-FBE9-FB433290385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74605327"/>
              </p:ext>
            </p:extLst>
          </p:nvPr>
        </p:nvGraphicFramePr>
        <p:xfrm>
          <a:off x="3133725" y="3695700"/>
          <a:ext cx="2514600" cy="2519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12" imgW="5712354" imgH="5723194" progId="Mbnd.mbnd">
                  <p:embed/>
                </p:oleObj>
              </mc:Choice>
              <mc:Fallback>
                <p:oleObj name="Macrobond document" r:id="rId12" imgW="5712354" imgH="5723194" progId="Mbnd.mbnd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9BEA916E-2FA2-4F55-FBE9-FB4332903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133725" y="3695700"/>
                        <a:ext cx="2514600" cy="2519363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089080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E741AF-356C-4382-8EA0-5472D7C83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2586AF-38B8-4C78-B37C-E1B1EC6CF1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3B6012-0E2D-47CE-9FFD-78EF5E72280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7AAA9F-B89B-4D4D-B611-A06369E6D9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/>
              <a:t>GDP Growth: </a:t>
            </a:r>
            <a:r>
              <a:rPr lang="de-CH" dirty="0" err="1"/>
              <a:t>Nowcast</a:t>
            </a:r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8F9EC08-CBEB-493B-9C29-C133A20A8406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/>
              <a:t>Growth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31C81929-3C55-7776-E297-A78F6D89E4D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73750968"/>
              </p:ext>
            </p:extLst>
          </p:nvPr>
        </p:nvGraphicFramePr>
        <p:xfrm>
          <a:off x="608013" y="1096963"/>
          <a:ext cx="3857625" cy="2576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3" imgW="8568711" imgH="5723194" progId="Mbnd.mbnd">
                  <p:embed/>
                </p:oleObj>
              </mc:Choice>
              <mc:Fallback>
                <p:oleObj name="Macrobond document" r:id="rId3" imgW="8568711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31C81929-3C55-7776-E297-A78F6D89E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08013" y="1096963"/>
                        <a:ext cx="3857625" cy="25765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B5C7A757-1EFE-26D3-0A4D-1AA5F06EAD5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86428506"/>
              </p:ext>
            </p:extLst>
          </p:nvPr>
        </p:nvGraphicFramePr>
        <p:xfrm>
          <a:off x="608013" y="3787775"/>
          <a:ext cx="3857625" cy="2576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5" imgW="8568711" imgH="5723194" progId="Mbnd.mbnd">
                  <p:embed/>
                </p:oleObj>
              </mc:Choice>
              <mc:Fallback>
                <p:oleObj name="Macrobond document" r:id="rId5" imgW="8568711" imgH="5723194" progId="Mbnd.mbnd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B5C7A757-1EFE-26D3-0A4D-1AA5F06EAD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08013" y="3787775"/>
                        <a:ext cx="3857625" cy="2576513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73F8FF02-AF43-80F0-CAB8-CE1D83BA94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90633568"/>
              </p:ext>
            </p:extLst>
          </p:nvPr>
        </p:nvGraphicFramePr>
        <p:xfrm>
          <a:off x="4573588" y="3786188"/>
          <a:ext cx="3857625" cy="2578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7" imgW="8568711" imgH="5723194" progId="Mbnd.mbnd">
                  <p:embed/>
                </p:oleObj>
              </mc:Choice>
              <mc:Fallback>
                <p:oleObj name="Macrobond document" r:id="rId7" imgW="8568711" imgH="5723194" progId="Mbnd.mbnd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73F8FF02-AF43-80F0-CAB8-CE1D83BA9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573588" y="3786188"/>
                        <a:ext cx="3857625" cy="2578100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9977EF7C-1F14-F536-9FC8-44CAA4F302D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19149361"/>
              </p:ext>
            </p:extLst>
          </p:nvPr>
        </p:nvGraphicFramePr>
        <p:xfrm>
          <a:off x="4573588" y="1096963"/>
          <a:ext cx="3857625" cy="2574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9" imgW="8568711" imgH="5723194" progId="Mbnd.mbnd">
                  <p:embed/>
                </p:oleObj>
              </mc:Choice>
              <mc:Fallback>
                <p:oleObj name="Macrobond document" r:id="rId9" imgW="8568711" imgH="5723194" progId="Mbnd.mbnd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9977EF7C-1F14-F536-9FC8-44CAA4F302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4573588" y="1096963"/>
                        <a:ext cx="3857625" cy="2574925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828266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B29038-1782-4F13-BC16-5596AC54E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acr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23EDCD-2C70-4D73-B355-031B72F41A7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CC8FA6-FC65-4E64-8761-680BB60142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A95836-699D-4FF4-A766-50AF21EB08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eading Indicators: PM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33A26F6-A01D-434E-A931-4913C54877E5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dirty="0" err="1"/>
              <a:t>Leading</a:t>
            </a:r>
            <a:r>
              <a:rPr lang="de-CH" sz="1400" dirty="0"/>
              <a:t> </a:t>
            </a:r>
            <a:r>
              <a:rPr lang="de-CH" sz="1400" dirty="0" err="1"/>
              <a:t>Indicators</a:t>
            </a:r>
            <a:endParaRPr lang="de-CH" sz="1400" dirty="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E5ECF30E-D593-40D0-AADB-F0DD319B01E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44802160"/>
              </p:ext>
            </p:extLst>
          </p:nvPr>
        </p:nvGraphicFramePr>
        <p:xfrm>
          <a:off x="949325" y="-2347913"/>
          <a:ext cx="7245350" cy="1193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8378359" imgH="13802721" progId="Mbnd.mbnd">
                  <p:embed/>
                </p:oleObj>
              </mc:Choice>
              <mc:Fallback>
                <p:oleObj name="Macrobond document" r:id="rId2" imgW="8378359" imgH="13802721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E5ECF30E-D593-40D0-AADB-F0DD319B0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949325" y="-2347913"/>
                        <a:ext cx="7245350" cy="11933238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1F417DB-DE83-48AA-BB7A-2BBF89033604}"/>
              </a:ext>
            </a:extLst>
          </p:cNvPr>
          <p:cNvSpPr txBox="1"/>
          <p:nvPr/>
        </p:nvSpPr>
        <p:spPr>
          <a:xfrm>
            <a:off x="320400" y="6180924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1200" dirty="0"/>
              <a:t>Quelle: </a:t>
            </a:r>
            <a:r>
              <a:rPr lang="de-CH" sz="1200" dirty="0" err="1"/>
              <a:t>Macrobond</a:t>
            </a: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19992763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edit Suisse Blue">
  <a:themeElements>
    <a:clrScheme name="Credit Suisse 2022 (blue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002746"/>
      </a:accent1>
      <a:accent2>
        <a:srgbClr val="003868"/>
      </a:accent2>
      <a:accent3>
        <a:srgbClr val="265682"/>
      </a:accent3>
      <a:accent4>
        <a:srgbClr val="507CAB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2" id="{3DEFE8BC-D8CF-4417-9AA2-0C9CD2CCF85B}" vid="{1DA35CFB-23BE-40E9-AC67-CA47CDB9AB50}"/>
    </a:ext>
  </a:extLst>
</a:theme>
</file>

<file path=ppt/theme/theme2.xml><?xml version="1.0" encoding="utf-8"?>
<a:theme xmlns:a="http://schemas.openxmlformats.org/drawingml/2006/main" name=" Credit Suisse Gray">
  <a:themeElements>
    <a:clrScheme name="Credit Suisse 2022 (gray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45464E"/>
      </a:accent1>
      <a:accent2>
        <a:srgbClr val="5D5E66"/>
      </a:accent2>
      <a:accent3>
        <a:srgbClr val="82838C"/>
      </a:accent3>
      <a:accent4>
        <a:srgbClr val="9D9DA7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2" id="{3DEFE8BC-D8CF-4417-9AA2-0C9CD2CCF85B}" vid="{24693EFA-7948-40D8-8108-3FB7EC5DE213}"/>
    </a:ext>
  </a:extLst>
</a:theme>
</file>

<file path=ppt/theme/theme3.xml><?xml version="1.0" encoding="utf-8"?>
<a:theme xmlns:a="http://schemas.openxmlformats.org/drawingml/2006/main" name=" Credit Suisse Green">
  <a:themeElements>
    <a:clrScheme name="Credit Suisse 2022 (green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1C5038"/>
      </a:accent1>
      <a:accent2>
        <a:srgbClr val="35684F"/>
      </a:accent2>
      <a:accent3>
        <a:srgbClr val="4F8367"/>
      </a:accent3>
      <a:accent4>
        <a:srgbClr val="689C80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2" id="{3DEFE8BC-D8CF-4417-9AA2-0C9CD2CCF85B}" vid="{CE5D3C4D-3E1C-4E60-8FED-7A46A97AD978}"/>
    </a:ext>
  </a:extLst>
</a:theme>
</file>

<file path=ppt/theme/theme4.xml><?xml version="1.0" encoding="utf-8"?>
<a:theme xmlns:a="http://schemas.openxmlformats.org/drawingml/2006/main" name=" Credit Suisse Gold">
  <a:themeElements>
    <a:clrScheme name="Credit Suisse 2022 (gold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B27500"/>
      </a:accent1>
      <a:accent2>
        <a:srgbClr val="C28C00"/>
      </a:accent2>
      <a:accent3>
        <a:srgbClr val="EBAF34"/>
      </a:accent3>
      <a:accent4>
        <a:srgbClr val="F0C352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2" id="{3DEFE8BC-D8CF-4417-9AA2-0C9CD2CCF85B}" vid="{D68B6B9C-572E-4706-9E6D-7F67E160FD62}"/>
    </a:ext>
  </a:extLst>
</a:theme>
</file>

<file path=ppt/theme/theme5.xml><?xml version="1.0" encoding="utf-8"?>
<a:theme xmlns:a="http://schemas.openxmlformats.org/drawingml/2006/main" name=" Credit Suisse Bronze">
  <a:themeElements>
    <a:clrScheme name="Credit Suisse 2022 (bronze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914927"/>
      </a:accent1>
      <a:accent2>
        <a:srgbClr val="AE623F"/>
      </a:accent2>
      <a:accent3>
        <a:srgbClr val="CB7C56"/>
      </a:accent3>
      <a:accent4>
        <a:srgbClr val="E9966F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2" id="{3DEFE8BC-D8CF-4417-9AA2-0C9CD2CCF85B}" vid="{B09F3EF3-750B-4109-AC07-FFA1C3B7428A}"/>
    </a:ext>
  </a:extLst>
</a:theme>
</file>

<file path=ppt/theme/theme6.xml><?xml version="1.0" encoding="utf-8"?>
<a:theme xmlns:a="http://schemas.openxmlformats.org/drawingml/2006/main" name=" Credit Suisse Red">
  <a:themeElements>
    <a:clrScheme name="Credit Suisse 2022 (red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B6413F"/>
      </a:accent1>
      <a:accent2>
        <a:srgbClr val="D45C56"/>
      </a:accent2>
      <a:accent3>
        <a:srgbClr val="F37870"/>
      </a:accent3>
      <a:accent4>
        <a:srgbClr val="FF9A90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2" id="{3DEFE8BC-D8CF-4417-9AA2-0C9CD2CCF85B}" vid="{881FAA90-D635-4D27-B463-DF423CDF8C91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7A00FE02A9714785974896FDE531CF" ma:contentTypeVersion="8" ma:contentTypeDescription="Create a new document." ma:contentTypeScope="" ma:versionID="d260fd8749cee651eefab135be6f814d">
  <xsd:schema xmlns:xsd="http://www.w3.org/2001/XMLSchema" xmlns:xs="http://www.w3.org/2001/XMLSchema" xmlns:p="http://schemas.microsoft.com/office/2006/metadata/properties" xmlns:ns2="f34d4646-ea92-4a0f-9c34-e9f8cfe8aa57" targetNamespace="http://schemas.microsoft.com/office/2006/metadata/properties" ma:root="true" ma:fieldsID="d39236732ad22922ef86752ad904908e" ns2:_="">
    <xsd:import namespace="f34d4646-ea92-4a0f-9c34-e9f8cfe8aa57"/>
    <xsd:element name="properties">
      <xsd:complexType>
        <xsd:sequence>
          <xsd:element name="documentManagement">
            <xsd:complexType>
              <xsd:all>
                <xsd:element ref="ns2:Thumbnail" minOccurs="0"/>
                <xsd:element ref="ns2:Status" minOccurs="0"/>
                <xsd:element ref="ns2:DocumentVersion"/>
                <xsd:element ref="ns2:DocumentTitle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4d4646-ea92-4a0f-9c34-e9f8cfe8aa57" elementFormDefault="qualified">
    <xsd:import namespace="http://schemas.microsoft.com/office/2006/documentManagement/types"/>
    <xsd:import namespace="http://schemas.microsoft.com/office/infopath/2007/PartnerControls"/>
    <xsd:element name="Thumbnail" ma:index="8" nillable="true" ma:displayName="Thumbnail" ma:format="Thumbnail" ma:internalName="Thumbnail">
      <xsd:simpleType>
        <xsd:restriction base="dms:Unknown"/>
      </xsd:simpleType>
    </xsd:element>
    <xsd:element name="Status" ma:index="9" nillable="true" ma:displayName="Document Status" ma:format="Dropdown" ma:internalName="Status">
      <xsd:simpleType>
        <xsd:union memberTypes="dms:Text">
          <xsd:simpleType>
            <xsd:restriction base="dms:Choice">
              <xsd:enumeration value="Approved"/>
              <xsd:enumeration value="in development"/>
            </xsd:restriction>
          </xsd:simpleType>
        </xsd:union>
      </xsd:simpleType>
    </xsd:element>
    <xsd:element name="DocumentVersion" ma:index="10" ma:displayName="Document Version" ma:default="1.0" ma:format="Dropdown" ma:internalName="DocumentVersion">
      <xsd:simpleType>
        <xsd:restriction base="dms:Text">
          <xsd:maxLength value="255"/>
        </xsd:restriction>
      </xsd:simpleType>
    </xsd:element>
    <xsd:element name="DocumentTitle" ma:index="11" nillable="true" ma:displayName="Document Title" ma:format="Dropdown" ma:internalName="DocumentTitle">
      <xsd:simpleType>
        <xsd:restriction base="dms:Text">
          <xsd:maxLength value="255"/>
        </xsd:restriction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Version xmlns="f34d4646-ea92-4a0f-9c34-e9f8cfe8aa57">1.0</DocumentVersion>
    <Thumbnail xmlns="f34d4646-ea92-4a0f-9c34-e9f8cfe8aa57" xsi:nil="true"/>
    <DocumentTitle xmlns="f34d4646-ea92-4a0f-9c34-e9f8cfe8aa57" xsi:nil="true"/>
    <Status xmlns="f34d4646-ea92-4a0f-9c34-e9f8cfe8aa5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BBSettings xmlns="http://schemas.bloomberg.com/settings/1.0">
  <Item name="DocumentId_Charts">{3E42C189-4855-41F8-966D-F52CAA3180C4}</Item>
  <Item xmlns="" name="ShapesMap_Charts">{"{3E42C189-4855-41F8-966D-F52CAA3180C4}":{"1255":{},"1259":{},"1260":{},"1261":{},"1262":{},"1263":{},"1300":{},"1302":{},"1303":{},"1310":{},"1315":{},"1316":{},"1323":{},"1324":{},"1331":{},"1340":{},"1341":{},"1342":{},"1343":{},"1344":{},"1345":{},"1346":{},"1347":{},"1348":{},"1349":{},"1350":{},"1351":{},"1363":{},"1367":{},"1369":{},"1370":{},"1371":{},"1372":{},"1374":{},"1375":{},"1393":{},"1400":{},"1401":{},"1402":{},"256":{},"258":{}}}</Item>
</BBSettings>
</file>

<file path=customXml/itemProps1.xml><?xml version="1.0" encoding="utf-8"?>
<ds:datastoreItem xmlns:ds="http://schemas.openxmlformats.org/officeDocument/2006/customXml" ds:itemID="{492B2D7B-0214-4F78-A0E9-C481958EFFAA}"/>
</file>

<file path=customXml/itemProps2.xml><?xml version="1.0" encoding="utf-8"?>
<ds:datastoreItem xmlns:ds="http://schemas.openxmlformats.org/officeDocument/2006/customXml" ds:itemID="{D7663714-6C21-4029-81A8-B793582E91ED}">
  <ds:schemaRefs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f34d4646-ea92-4a0f-9c34-e9f8cfe8aa57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A9E8BDB-45E0-419C-B4EC-3D5B49D60F21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9C18669A-A5EA-4704-9271-E52907AC0C5C}">
  <ds:schemaRefs>
    <ds:schemaRef ds:uri="http://schemas.bloomberg.com/settings/1.0"/>
    <ds:schemaRef ds:uri="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redit Suisse PPT Template_4by3_220407</Template>
  <TotalTime>0</TotalTime>
  <Words>841</Words>
  <Application>Microsoft Office PowerPoint</Application>
  <PresentationFormat>On-screen Show (4:3)</PresentationFormat>
  <Paragraphs>235</Paragraphs>
  <Slides>4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0</vt:i4>
      </vt:variant>
    </vt:vector>
  </HeadingPairs>
  <TitlesOfParts>
    <vt:vector size="53" baseType="lpstr">
      <vt:lpstr>Credit Suisse Type Roman</vt:lpstr>
      <vt:lpstr>Wingdings</vt:lpstr>
      <vt:lpstr>Credit Suisse Headline</vt:lpstr>
      <vt:lpstr>Credit Suisse Type Light</vt:lpstr>
      <vt:lpstr>Calibri</vt:lpstr>
      <vt:lpstr>Credit Suisse Blue</vt:lpstr>
      <vt:lpstr> Credit Suisse Gray</vt:lpstr>
      <vt:lpstr> Credit Suisse Green</vt:lpstr>
      <vt:lpstr> Credit Suisse Gold</vt:lpstr>
      <vt:lpstr> Credit Suisse Bronze</vt:lpstr>
      <vt:lpstr> Credit Suisse Red</vt:lpstr>
      <vt:lpstr>think-cell Slide</vt:lpstr>
      <vt:lpstr>Macrobond document</vt:lpstr>
      <vt:lpstr>TAA Group</vt:lpstr>
      <vt:lpstr>Factor View Anlagebereich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  <vt:lpstr>Macr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eudek, Magdalena (TCIZ 43)</dc:creator>
  <cp:lastModifiedBy>Fässler, Oliver (JPKA 2)</cp:lastModifiedBy>
  <cp:revision>585</cp:revision>
  <dcterms:created xsi:type="dcterms:W3CDTF">2022-04-08T11:23:29Z</dcterms:created>
  <dcterms:modified xsi:type="dcterms:W3CDTF">2025-06-18T18:15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3732d58-8c18-4bab-8f62-1159a69060e9_Enabled">
    <vt:lpwstr>True</vt:lpwstr>
  </property>
  <property fmtid="{D5CDD505-2E9C-101B-9397-08002B2CF9AE}" pid="3" name="MSIP_Label_f3732d58-8c18-4bab-8f62-1159a69060e9_SiteId">
    <vt:lpwstr>d0df3d96-c065-41c3-8c0b-5dcaa460ec33</vt:lpwstr>
  </property>
  <property fmtid="{D5CDD505-2E9C-101B-9397-08002B2CF9AE}" pid="4" name="MSIP_Label_f3732d58-8c18-4bab-8f62-1159a69060e9_Owner">
    <vt:lpwstr>mark.s.hirst@credit-suisse.com</vt:lpwstr>
  </property>
  <property fmtid="{D5CDD505-2E9C-101B-9397-08002B2CF9AE}" pid="5" name="MSIP_Label_f3732d58-8c18-4bab-8f62-1159a69060e9_SetDate">
    <vt:lpwstr>2022-04-04T12:58:19.2045070Z</vt:lpwstr>
  </property>
  <property fmtid="{D5CDD505-2E9C-101B-9397-08002B2CF9AE}" pid="6" name="MSIP_Label_f3732d58-8c18-4bab-8f62-1159a69060e9_Name">
    <vt:lpwstr>Unrestricted</vt:lpwstr>
  </property>
  <property fmtid="{D5CDD505-2E9C-101B-9397-08002B2CF9AE}" pid="7" name="MSIP_Label_f3732d58-8c18-4bab-8f62-1159a69060e9_Application">
    <vt:lpwstr>Microsoft Azure Information Protection</vt:lpwstr>
  </property>
  <property fmtid="{D5CDD505-2E9C-101B-9397-08002B2CF9AE}" pid="8" name="MSIP_Label_f3732d58-8c18-4bab-8f62-1159a69060e9_ActionId">
    <vt:lpwstr>2df0ddff-2977-4894-8dcb-fe113338f7ab</vt:lpwstr>
  </property>
  <property fmtid="{D5CDD505-2E9C-101B-9397-08002B2CF9AE}" pid="9" name="MSIP_Label_f3732d58-8c18-4bab-8f62-1159a69060e9_Extended_MSFT_Method">
    <vt:lpwstr>Manual</vt:lpwstr>
  </property>
  <property fmtid="{D5CDD505-2E9C-101B-9397-08002B2CF9AE}" pid="10" name="MSIP_Label_e288a1f6-a325-4240-aff6-5cd6a619dbd5_Enabled">
    <vt:lpwstr>true</vt:lpwstr>
  </property>
  <property fmtid="{D5CDD505-2E9C-101B-9397-08002B2CF9AE}" pid="11" name="MSIP_Label_e288a1f6-a325-4240-aff6-5cd6a619dbd5_SetDate">
    <vt:lpwstr>2024-09-23T14:23:16Z</vt:lpwstr>
  </property>
  <property fmtid="{D5CDD505-2E9C-101B-9397-08002B2CF9AE}" pid="12" name="MSIP_Label_e288a1f6-a325-4240-aff6-5cd6a619dbd5_Method">
    <vt:lpwstr>Privileged</vt:lpwstr>
  </property>
  <property fmtid="{D5CDD505-2E9C-101B-9397-08002B2CF9AE}" pid="13" name="MSIP_Label_e288a1f6-a325-4240-aff6-5cd6a619dbd5_Name">
    <vt:lpwstr>Intern</vt:lpwstr>
  </property>
  <property fmtid="{D5CDD505-2E9C-101B-9397-08002B2CF9AE}" pid="14" name="MSIP_Label_e288a1f6-a325-4240-aff6-5cd6a619dbd5_SiteId">
    <vt:lpwstr>fe248b4e-07cf-4091-94fe-02474839f23d</vt:lpwstr>
  </property>
  <property fmtid="{D5CDD505-2E9C-101B-9397-08002B2CF9AE}" pid="15" name="MSIP_Label_e288a1f6-a325-4240-aff6-5cd6a619dbd5_ActionId">
    <vt:lpwstr>90463b05-39b2-4d3e-9f15-a7bd17a39548</vt:lpwstr>
  </property>
  <property fmtid="{D5CDD505-2E9C-101B-9397-08002B2CF9AE}" pid="16" name="MSIP_Label_e288a1f6-a325-4240-aff6-5cd6a619dbd5_ContentBits">
    <vt:lpwstr>0</vt:lpwstr>
  </property>
  <property fmtid="{D5CDD505-2E9C-101B-9397-08002B2CF9AE}" pid="17" name="ContentTypeId">
    <vt:lpwstr>0x010100487A00FE02A9714785974896FDE531CF</vt:lpwstr>
  </property>
</Properties>
</file>